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49.xml" ContentType="application/vnd.openxmlformats-officedocument.drawingml.chart+xml"/>
  <Override PartName="/ppt/charts/chart35.xml" ContentType="application/vnd.openxmlformats-officedocument.drawingml.chart+xml"/>
  <Override PartName="/ppt/charts/chart350.xml" ContentType="application/vnd.openxmlformats-officedocument.drawingml.chart+xml"/>
  <Override PartName="/ppt/charts/chart351.xml" ContentType="application/vnd.openxmlformats-officedocument.drawingml.chart+xml"/>
  <Override PartName="/ppt/charts/chart352.xml" ContentType="application/vnd.openxmlformats-officedocument.drawingml.chart+xml"/>
  <Override PartName="/ppt/charts/chart353.xml" ContentType="application/vnd.openxmlformats-officedocument.drawingml.chart+xml"/>
  <Override PartName="/ppt/charts/chart354.xml" ContentType="application/vnd.openxmlformats-officedocument.drawingml.chart+xml"/>
  <Override PartName="/ppt/charts/chart355.xml" ContentType="application/vnd.openxmlformats-officedocument.drawingml.chart+xml"/>
  <Override PartName="/ppt/charts/chart356.xml" ContentType="application/vnd.openxmlformats-officedocument.drawingml.chart+xml"/>
  <Override PartName="/ppt/charts/chart357.xml" ContentType="application/vnd.openxmlformats-officedocument.drawingml.chart+xml"/>
  <Override PartName="/ppt/charts/chart358.xml" ContentType="application/vnd.openxmlformats-officedocument.drawingml.chart+xml"/>
  <Override PartName="/ppt/charts/chart359.xml" ContentType="application/vnd.openxmlformats-officedocument.drawingml.chart+xml"/>
  <Override PartName="/ppt/charts/chart36.xml" ContentType="application/vnd.openxmlformats-officedocument.drawingml.chart+xml"/>
  <Override PartName="/ppt/charts/chart360.xml" ContentType="application/vnd.openxmlformats-officedocument.drawingml.chart+xml"/>
  <Override PartName="/ppt/charts/chart361.xml" ContentType="application/vnd.openxmlformats-officedocument.drawingml.chart+xml"/>
  <Override PartName="/ppt/charts/chart362.xml" ContentType="application/vnd.openxmlformats-officedocument.drawingml.chart+xml"/>
  <Override PartName="/ppt/charts/chart363.xml" ContentType="application/vnd.openxmlformats-officedocument.drawingml.chart+xml"/>
  <Override PartName="/ppt/charts/chart364.xml" ContentType="application/vnd.openxmlformats-officedocument.drawingml.chart+xml"/>
  <Override PartName="/ppt/charts/chart365.xml" ContentType="application/vnd.openxmlformats-officedocument.drawingml.chart+xml"/>
  <Override PartName="/ppt/charts/chart366.xml" ContentType="application/vnd.openxmlformats-officedocument.drawingml.chart+xml"/>
  <Override PartName="/ppt/charts/chart367.xml" ContentType="application/vnd.openxmlformats-officedocument.drawingml.chart+xml"/>
  <Override PartName="/ppt/charts/chart368.xml" ContentType="application/vnd.openxmlformats-officedocument.drawingml.chart+xml"/>
  <Override PartName="/ppt/charts/chart369.xml" ContentType="application/vnd.openxmlformats-officedocument.drawingml.chart+xml"/>
  <Override PartName="/ppt/charts/chart37.xml" ContentType="application/vnd.openxmlformats-officedocument.drawingml.chart+xml"/>
  <Override PartName="/ppt/charts/chart370.xml" ContentType="application/vnd.openxmlformats-officedocument.drawingml.chart+xml"/>
  <Override PartName="/ppt/charts/chart371.xml" ContentType="application/vnd.openxmlformats-officedocument.drawingml.chart+xml"/>
  <Override PartName="/ppt/charts/chart372.xml" ContentType="application/vnd.openxmlformats-officedocument.drawingml.chart+xml"/>
  <Override PartName="/ppt/charts/chart373.xml" ContentType="application/vnd.openxmlformats-officedocument.drawingml.chart+xml"/>
  <Override PartName="/ppt/charts/chart374.xml" ContentType="application/vnd.openxmlformats-officedocument.drawingml.chart+xml"/>
  <Override PartName="/ppt/charts/chart375.xml" ContentType="application/vnd.openxmlformats-officedocument.drawingml.chart+xml"/>
  <Override PartName="/ppt/charts/chart376.xml" ContentType="application/vnd.openxmlformats-officedocument.drawingml.chart+xml"/>
  <Override PartName="/ppt/charts/chart377.xml" ContentType="application/vnd.openxmlformats-officedocument.drawingml.chart+xml"/>
  <Override PartName="/ppt/charts/chart378.xml" ContentType="application/vnd.openxmlformats-officedocument.drawingml.chart+xml"/>
  <Override PartName="/ppt/charts/chart379.xml" ContentType="application/vnd.openxmlformats-officedocument.drawingml.chart+xml"/>
  <Override PartName="/ppt/charts/chart38.xml" ContentType="application/vnd.openxmlformats-officedocument.drawingml.chart+xml"/>
  <Override PartName="/ppt/charts/chart380.xml" ContentType="application/vnd.openxmlformats-officedocument.drawingml.chart+xml"/>
  <Override PartName="/ppt/charts/chart381.xml" ContentType="application/vnd.openxmlformats-officedocument.drawingml.chart+xml"/>
  <Override PartName="/ppt/charts/chart382.xml" ContentType="application/vnd.openxmlformats-officedocument.drawingml.chart+xml"/>
  <Override PartName="/ppt/charts/chart383.xml" ContentType="application/vnd.openxmlformats-officedocument.drawingml.chart+xml"/>
  <Override PartName="/ppt/charts/chart384.xml" ContentType="application/vnd.openxmlformats-officedocument.drawingml.chart+xml"/>
  <Override PartName="/ppt/charts/chart385.xml" ContentType="application/vnd.openxmlformats-officedocument.drawingml.chart+xml"/>
  <Override PartName="/ppt/charts/chart386.xml" ContentType="application/vnd.openxmlformats-officedocument.drawingml.chart+xml"/>
  <Override PartName="/ppt/charts/chart387.xml" ContentType="application/vnd.openxmlformats-officedocument.drawingml.chart+xml"/>
  <Override PartName="/ppt/charts/chart388.xml" ContentType="application/vnd.openxmlformats-officedocument.drawingml.chart+xml"/>
  <Override PartName="/ppt/charts/chart389.xml" ContentType="application/vnd.openxmlformats-officedocument.drawingml.chart+xml"/>
  <Override PartName="/ppt/charts/chart39.xml" ContentType="application/vnd.openxmlformats-officedocument.drawingml.chart+xml"/>
  <Override PartName="/ppt/charts/chart390.xml" ContentType="application/vnd.openxmlformats-officedocument.drawingml.chart+xml"/>
  <Override PartName="/ppt/charts/chart391.xml" ContentType="application/vnd.openxmlformats-officedocument.drawingml.chart+xml"/>
  <Override PartName="/ppt/charts/chart392.xml" ContentType="application/vnd.openxmlformats-officedocument.drawingml.chart+xml"/>
  <Override PartName="/ppt/charts/chart393.xml" ContentType="application/vnd.openxmlformats-officedocument.drawingml.chart+xml"/>
  <Override PartName="/ppt/charts/chart394.xml" ContentType="application/vnd.openxmlformats-officedocument.drawingml.chart+xml"/>
  <Override PartName="/ppt/charts/chart395.xml" ContentType="application/vnd.openxmlformats-officedocument.drawingml.chart+xml"/>
  <Override PartName="/ppt/charts/chart396.xml" ContentType="application/vnd.openxmlformats-officedocument.drawingml.chart+xml"/>
  <Override PartName="/ppt/charts/chart397.xml" ContentType="application/vnd.openxmlformats-officedocument.drawingml.chart+xml"/>
  <Override PartName="/ppt/charts/chart398.xml" ContentType="application/vnd.openxmlformats-officedocument.drawingml.chart+xml"/>
  <Override PartName="/ppt/charts/chart39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00.xml" ContentType="application/vnd.openxmlformats-officedocument.drawingml.chart+xml"/>
  <Override PartName="/ppt/charts/chart401.xml" ContentType="application/vnd.openxmlformats-officedocument.drawingml.chart+xml"/>
  <Override PartName="/ppt/charts/chart402.xml" ContentType="application/vnd.openxmlformats-officedocument.drawingml.chart+xml"/>
  <Override PartName="/ppt/charts/chart403.xml" ContentType="application/vnd.openxmlformats-officedocument.drawingml.chart+xml"/>
  <Override PartName="/ppt/charts/chart404.xml" ContentType="application/vnd.openxmlformats-officedocument.drawingml.chart+xml"/>
  <Override PartName="/ppt/charts/chart405.xml" ContentType="application/vnd.openxmlformats-officedocument.drawingml.chart+xml"/>
  <Override PartName="/ppt/charts/chart406.xml" ContentType="application/vnd.openxmlformats-officedocument.drawingml.chart+xml"/>
  <Override PartName="/ppt/charts/chart407.xml" ContentType="application/vnd.openxmlformats-officedocument.drawingml.chart+xml"/>
  <Override PartName="/ppt/charts/chart408.xml" ContentType="application/vnd.openxmlformats-officedocument.drawingml.chart+xml"/>
  <Override PartName="/ppt/charts/chart409.xml" ContentType="application/vnd.openxmlformats-officedocument.drawingml.chart+xml"/>
  <Override PartName="/ppt/charts/chart41.xml" ContentType="application/vnd.openxmlformats-officedocument.drawingml.chart+xml"/>
  <Override PartName="/ppt/charts/chart410.xml" ContentType="application/vnd.openxmlformats-officedocument.drawingml.chart+xml"/>
  <Override PartName="/ppt/charts/chart411.xml" ContentType="application/vnd.openxmlformats-officedocument.drawingml.chart+xml"/>
  <Override PartName="/ppt/charts/chart412.xml" ContentType="application/vnd.openxmlformats-officedocument.drawingml.chart+xml"/>
  <Override PartName="/ppt/charts/chart413.xml" ContentType="application/vnd.openxmlformats-officedocument.drawingml.chart+xml"/>
  <Override PartName="/ppt/charts/chart414.xml" ContentType="application/vnd.openxmlformats-officedocument.drawingml.chart+xml"/>
  <Override PartName="/ppt/charts/chart415.xml" ContentType="application/vnd.openxmlformats-officedocument.drawingml.chart+xml"/>
  <Override PartName="/ppt/charts/chart416.xml" ContentType="application/vnd.openxmlformats-officedocument.drawingml.chart+xml"/>
  <Override PartName="/ppt/charts/chart417.xml" ContentType="application/vnd.openxmlformats-officedocument.drawingml.chart+xml"/>
  <Override PartName="/ppt/charts/chart418.xml" ContentType="application/vnd.openxmlformats-officedocument.drawingml.chart+xml"/>
  <Override PartName="/ppt/charts/chart419.xml" ContentType="application/vnd.openxmlformats-officedocument.drawingml.chart+xml"/>
  <Override PartName="/ppt/charts/chart42.xml" ContentType="application/vnd.openxmlformats-officedocument.drawingml.chart+xml"/>
  <Override PartName="/ppt/charts/chart420.xml" ContentType="application/vnd.openxmlformats-officedocument.drawingml.chart+xml"/>
  <Override PartName="/ppt/charts/chart421.xml" ContentType="application/vnd.openxmlformats-officedocument.drawingml.chart+xml"/>
  <Override PartName="/ppt/charts/chart422.xml" ContentType="application/vnd.openxmlformats-officedocument.drawingml.chart+xml"/>
  <Override PartName="/ppt/charts/chart423.xml" ContentType="application/vnd.openxmlformats-officedocument.drawingml.chart+xml"/>
  <Override PartName="/ppt/charts/chart424.xml" ContentType="application/vnd.openxmlformats-officedocument.drawingml.chart+xml"/>
  <Override PartName="/ppt/charts/chart425.xml" ContentType="application/vnd.openxmlformats-officedocument.drawingml.chart+xml"/>
  <Override PartName="/ppt/charts/chart426.xml" ContentType="application/vnd.openxmlformats-officedocument.drawingml.chart+xml"/>
  <Override PartName="/ppt/charts/chart427.xml" ContentType="application/vnd.openxmlformats-officedocument.drawingml.chart+xml"/>
  <Override PartName="/ppt/charts/chart428.xml" ContentType="application/vnd.openxmlformats-officedocument.drawingml.chart+xml"/>
  <Override PartName="/ppt/charts/chart429.xml" ContentType="application/vnd.openxmlformats-officedocument.drawingml.chart+xml"/>
  <Override PartName="/ppt/charts/chart43.xml" ContentType="application/vnd.openxmlformats-officedocument.drawingml.chart+xml"/>
  <Override PartName="/ppt/charts/chart430.xml" ContentType="application/vnd.openxmlformats-officedocument.drawingml.chart+xml"/>
  <Override PartName="/ppt/charts/chart431.xml" ContentType="application/vnd.openxmlformats-officedocument.drawingml.chart+xml"/>
  <Override PartName="/ppt/charts/chart432.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ParentxSegment" id="{2D448C50-9657-432F-B659-7B9734F1E34C}">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49.xml.rels><?xml version='1.0' encoding='UTF-8' standalone='yes'?>
<Relationships xmlns="http://schemas.openxmlformats.org/package/2006/relationships"><Relationship Id="rId1" Type="http://schemas.openxmlformats.org/officeDocument/2006/relationships/package" Target="../embeddings/Microsoft_Excel_Worksheet348.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0.xml.rels><?xml version='1.0' encoding='UTF-8' standalone='yes'?>
<Relationships xmlns="http://schemas.openxmlformats.org/package/2006/relationships"><Relationship Id="rId1" Type="http://schemas.openxmlformats.org/officeDocument/2006/relationships/package" Target="../embeddings/Microsoft_Excel_Worksheet349.xlsx"/></Relationships>
</file>

<file path=ppt/charts/_rels/chart351.xml.rels><?xml version='1.0' encoding='UTF-8' standalone='yes'?>
<Relationships xmlns="http://schemas.openxmlformats.org/package/2006/relationships"><Relationship Id="rId1" Type="http://schemas.openxmlformats.org/officeDocument/2006/relationships/package" Target="../embeddings/Microsoft_Excel_Worksheet350.xlsx"/></Relationships>
</file>

<file path=ppt/charts/_rels/chart352.xml.rels><?xml version='1.0' encoding='UTF-8' standalone='yes'?>
<Relationships xmlns="http://schemas.openxmlformats.org/package/2006/relationships"><Relationship Id="rId1" Type="http://schemas.openxmlformats.org/officeDocument/2006/relationships/package" Target="../embeddings/Microsoft_Excel_Worksheet351.xlsx"/></Relationships>
</file>

<file path=ppt/charts/_rels/chart353.xml.rels><?xml version='1.0' encoding='UTF-8' standalone='yes'?>
<Relationships xmlns="http://schemas.openxmlformats.org/package/2006/relationships"><Relationship Id="rId1" Type="http://schemas.openxmlformats.org/officeDocument/2006/relationships/package" Target="../embeddings/Microsoft_Excel_Worksheet352.xlsx"/></Relationships>
</file>

<file path=ppt/charts/_rels/chart354.xml.rels><?xml version='1.0' encoding='UTF-8' standalone='yes'?>
<Relationships xmlns="http://schemas.openxmlformats.org/package/2006/relationships"><Relationship Id="rId1" Type="http://schemas.openxmlformats.org/officeDocument/2006/relationships/package" Target="../embeddings/Microsoft_Excel_Worksheet353.xlsx"/></Relationships>
</file>

<file path=ppt/charts/_rels/chart355.xml.rels><?xml version='1.0' encoding='UTF-8' standalone='yes'?>
<Relationships xmlns="http://schemas.openxmlformats.org/package/2006/relationships"><Relationship Id="rId1" Type="http://schemas.openxmlformats.org/officeDocument/2006/relationships/package" Target="../embeddings/Microsoft_Excel_Worksheet354.xlsx"/></Relationships>
</file>

<file path=ppt/charts/_rels/chart356.xml.rels><?xml version='1.0' encoding='UTF-8' standalone='yes'?>
<Relationships xmlns="http://schemas.openxmlformats.org/package/2006/relationships"><Relationship Id="rId1" Type="http://schemas.openxmlformats.org/officeDocument/2006/relationships/package" Target="../embeddings/Microsoft_Excel_Worksheet355.xlsx"/></Relationships>
</file>

<file path=ppt/charts/_rels/chart357.xml.rels><?xml version='1.0' encoding='UTF-8' standalone='yes'?>
<Relationships xmlns="http://schemas.openxmlformats.org/package/2006/relationships"><Relationship Id="rId1" Type="http://schemas.openxmlformats.org/officeDocument/2006/relationships/package" Target="../embeddings/Microsoft_Excel_Worksheet356.xlsx"/></Relationships>
</file>

<file path=ppt/charts/_rels/chart358.xml.rels><?xml version='1.0' encoding='UTF-8' standalone='yes'?>
<Relationships xmlns="http://schemas.openxmlformats.org/package/2006/relationships"><Relationship Id="rId1" Type="http://schemas.openxmlformats.org/officeDocument/2006/relationships/package" Target="../embeddings/Microsoft_Excel_Worksheet357.xlsx"/></Relationships>
</file>

<file path=ppt/charts/_rels/chart359.xml.rels><?xml version='1.0' encoding='UTF-8' standalone='yes'?>
<Relationships xmlns="http://schemas.openxmlformats.org/package/2006/relationships"><Relationship Id="rId1" Type="http://schemas.openxmlformats.org/officeDocument/2006/relationships/package" Target="../embeddings/Microsoft_Excel_Worksheet35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0.xml.rels><?xml version='1.0' encoding='UTF-8' standalone='yes'?>
<Relationships xmlns="http://schemas.openxmlformats.org/package/2006/relationships"><Relationship Id="rId1" Type="http://schemas.openxmlformats.org/officeDocument/2006/relationships/package" Target="../embeddings/Microsoft_Excel_Worksheet359.xlsx"/></Relationships>
</file>

<file path=ppt/charts/_rels/chart361.xml.rels><?xml version='1.0' encoding='UTF-8' standalone='yes'?>
<Relationships xmlns="http://schemas.openxmlformats.org/package/2006/relationships"><Relationship Id="rId1" Type="http://schemas.openxmlformats.org/officeDocument/2006/relationships/package" Target="../embeddings/Microsoft_Excel_Worksheet360.xlsx"/></Relationships>
</file>

<file path=ppt/charts/_rels/chart362.xml.rels><?xml version='1.0' encoding='UTF-8' standalone='yes'?>
<Relationships xmlns="http://schemas.openxmlformats.org/package/2006/relationships"><Relationship Id="rId1" Type="http://schemas.openxmlformats.org/officeDocument/2006/relationships/package" Target="../embeddings/Microsoft_Excel_Worksheet361.xlsx"/></Relationships>
</file>

<file path=ppt/charts/_rels/chart363.xml.rels><?xml version='1.0' encoding='UTF-8' standalone='yes'?>
<Relationships xmlns="http://schemas.openxmlformats.org/package/2006/relationships"><Relationship Id="rId1" Type="http://schemas.openxmlformats.org/officeDocument/2006/relationships/package" Target="../embeddings/Microsoft_Excel_Worksheet362.xlsx"/></Relationships>
</file>

<file path=ppt/charts/_rels/chart364.xml.rels><?xml version='1.0' encoding='UTF-8' standalone='yes'?>
<Relationships xmlns="http://schemas.openxmlformats.org/package/2006/relationships"><Relationship Id="rId1" Type="http://schemas.openxmlformats.org/officeDocument/2006/relationships/package" Target="../embeddings/Microsoft_Excel_Worksheet363.xlsx"/></Relationships>
</file>

<file path=ppt/charts/_rels/chart365.xml.rels><?xml version='1.0' encoding='UTF-8' standalone='yes'?>
<Relationships xmlns="http://schemas.openxmlformats.org/package/2006/relationships"><Relationship Id="rId1" Type="http://schemas.openxmlformats.org/officeDocument/2006/relationships/package" Target="../embeddings/Microsoft_Excel_Worksheet364.xlsx"/></Relationships>
</file>

<file path=ppt/charts/_rels/chart366.xml.rels><?xml version='1.0' encoding='UTF-8' standalone='yes'?>
<Relationships xmlns="http://schemas.openxmlformats.org/package/2006/relationships"><Relationship Id="rId1" Type="http://schemas.openxmlformats.org/officeDocument/2006/relationships/package" Target="../embeddings/Microsoft_Excel_Worksheet365.xlsx"/></Relationships>
</file>

<file path=ppt/charts/_rels/chart367.xml.rels><?xml version='1.0' encoding='UTF-8' standalone='yes'?>
<Relationships xmlns="http://schemas.openxmlformats.org/package/2006/relationships"><Relationship Id="rId1" Type="http://schemas.openxmlformats.org/officeDocument/2006/relationships/package" Target="../embeddings/Microsoft_Excel_Worksheet366.xlsx"/></Relationships>
</file>

<file path=ppt/charts/_rels/chart368.xml.rels><?xml version='1.0' encoding='UTF-8' standalone='yes'?>
<Relationships xmlns="http://schemas.openxmlformats.org/package/2006/relationships"><Relationship Id="rId1" Type="http://schemas.openxmlformats.org/officeDocument/2006/relationships/package" Target="../embeddings/Microsoft_Excel_Worksheet367.xlsx"/></Relationships>
</file>

<file path=ppt/charts/_rels/chart369.xml.rels><?xml version='1.0' encoding='UTF-8' standalone='yes'?>
<Relationships xmlns="http://schemas.openxmlformats.org/package/2006/relationships"><Relationship Id="rId1" Type="http://schemas.openxmlformats.org/officeDocument/2006/relationships/package" Target="../embeddings/Microsoft_Excel_Worksheet368.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0.xml.rels><?xml version='1.0' encoding='UTF-8' standalone='yes'?>
<Relationships xmlns="http://schemas.openxmlformats.org/package/2006/relationships"><Relationship Id="rId1" Type="http://schemas.openxmlformats.org/officeDocument/2006/relationships/package" Target="../embeddings/Microsoft_Excel_Worksheet369.xlsx"/></Relationships>
</file>

<file path=ppt/charts/_rels/chart371.xml.rels><?xml version='1.0' encoding='UTF-8' standalone='yes'?>
<Relationships xmlns="http://schemas.openxmlformats.org/package/2006/relationships"><Relationship Id="rId1" Type="http://schemas.openxmlformats.org/officeDocument/2006/relationships/package" Target="../embeddings/Microsoft_Excel_Worksheet370.xlsx"/></Relationships>
</file>

<file path=ppt/charts/_rels/chart372.xml.rels><?xml version='1.0' encoding='UTF-8' standalone='yes'?>
<Relationships xmlns="http://schemas.openxmlformats.org/package/2006/relationships"><Relationship Id="rId1" Type="http://schemas.openxmlformats.org/officeDocument/2006/relationships/package" Target="../embeddings/Microsoft_Excel_Worksheet371.xlsx"/></Relationships>
</file>

<file path=ppt/charts/_rels/chart373.xml.rels><?xml version='1.0' encoding='UTF-8' standalone='yes'?>
<Relationships xmlns="http://schemas.openxmlformats.org/package/2006/relationships"><Relationship Id="rId1" Type="http://schemas.openxmlformats.org/officeDocument/2006/relationships/package" Target="../embeddings/Microsoft_Excel_Worksheet372.xlsx"/></Relationships>
</file>

<file path=ppt/charts/_rels/chart374.xml.rels><?xml version='1.0' encoding='UTF-8' standalone='yes'?>
<Relationships xmlns="http://schemas.openxmlformats.org/package/2006/relationships"><Relationship Id="rId1" Type="http://schemas.openxmlformats.org/officeDocument/2006/relationships/package" Target="../embeddings/Microsoft_Excel_Worksheet373.xlsx"/></Relationships>
</file>

<file path=ppt/charts/_rels/chart375.xml.rels><?xml version='1.0' encoding='UTF-8' standalone='yes'?>
<Relationships xmlns="http://schemas.openxmlformats.org/package/2006/relationships"><Relationship Id="rId1" Type="http://schemas.openxmlformats.org/officeDocument/2006/relationships/package" Target="../embeddings/Microsoft_Excel_Worksheet374.xlsx"/></Relationships>
</file>

<file path=ppt/charts/_rels/chart376.xml.rels><?xml version='1.0' encoding='UTF-8' standalone='yes'?>
<Relationships xmlns="http://schemas.openxmlformats.org/package/2006/relationships"><Relationship Id="rId1" Type="http://schemas.openxmlformats.org/officeDocument/2006/relationships/package" Target="../embeddings/Microsoft_Excel_Worksheet375.xlsx"/></Relationships>
</file>

<file path=ppt/charts/_rels/chart377.xml.rels><?xml version='1.0' encoding='UTF-8' standalone='yes'?>
<Relationships xmlns="http://schemas.openxmlformats.org/package/2006/relationships"><Relationship Id="rId1" Type="http://schemas.openxmlformats.org/officeDocument/2006/relationships/package" Target="../embeddings/Microsoft_Excel_Worksheet376.xlsx"/></Relationships>
</file>

<file path=ppt/charts/_rels/chart378.xml.rels><?xml version='1.0' encoding='UTF-8' standalone='yes'?>
<Relationships xmlns="http://schemas.openxmlformats.org/package/2006/relationships"><Relationship Id="rId1" Type="http://schemas.openxmlformats.org/officeDocument/2006/relationships/package" Target="../embeddings/Microsoft_Excel_Worksheet377.xlsx"/></Relationships>
</file>

<file path=ppt/charts/_rels/chart379.xml.rels><?xml version='1.0' encoding='UTF-8' standalone='yes'?>
<Relationships xmlns="http://schemas.openxmlformats.org/package/2006/relationships"><Relationship Id="rId1" Type="http://schemas.openxmlformats.org/officeDocument/2006/relationships/package" Target="../embeddings/Microsoft_Excel_Worksheet37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0.xml.rels><?xml version='1.0' encoding='UTF-8' standalone='yes'?>
<Relationships xmlns="http://schemas.openxmlformats.org/package/2006/relationships"><Relationship Id="rId1" Type="http://schemas.openxmlformats.org/officeDocument/2006/relationships/package" Target="../embeddings/Microsoft_Excel_Worksheet379.xlsx"/></Relationships>
</file>

<file path=ppt/charts/_rels/chart381.xml.rels><?xml version='1.0' encoding='UTF-8' standalone='yes'?>
<Relationships xmlns="http://schemas.openxmlformats.org/package/2006/relationships"><Relationship Id="rId1" Type="http://schemas.openxmlformats.org/officeDocument/2006/relationships/package" Target="../embeddings/Microsoft_Excel_Worksheet380.xlsx"/></Relationships>
</file>

<file path=ppt/charts/_rels/chart382.xml.rels><?xml version='1.0' encoding='UTF-8' standalone='yes'?>
<Relationships xmlns="http://schemas.openxmlformats.org/package/2006/relationships"><Relationship Id="rId1" Type="http://schemas.openxmlformats.org/officeDocument/2006/relationships/package" Target="../embeddings/Microsoft_Excel_Worksheet381.xlsx"/></Relationships>
</file>

<file path=ppt/charts/_rels/chart383.xml.rels><?xml version='1.0' encoding='UTF-8' standalone='yes'?>
<Relationships xmlns="http://schemas.openxmlformats.org/package/2006/relationships"><Relationship Id="rId1" Type="http://schemas.openxmlformats.org/officeDocument/2006/relationships/package" Target="../embeddings/Microsoft_Excel_Worksheet382.xlsx"/></Relationships>
</file>

<file path=ppt/charts/_rels/chart384.xml.rels><?xml version='1.0' encoding='UTF-8' standalone='yes'?>
<Relationships xmlns="http://schemas.openxmlformats.org/package/2006/relationships"><Relationship Id="rId1" Type="http://schemas.openxmlformats.org/officeDocument/2006/relationships/package" Target="../embeddings/Microsoft_Excel_Worksheet383.xlsx"/></Relationships>
</file>

<file path=ppt/charts/_rels/chart385.xml.rels><?xml version='1.0' encoding='UTF-8' standalone='yes'?>
<Relationships xmlns="http://schemas.openxmlformats.org/package/2006/relationships"><Relationship Id="rId1" Type="http://schemas.openxmlformats.org/officeDocument/2006/relationships/package" Target="../embeddings/Microsoft_Excel_Worksheet384.xlsx"/></Relationships>
</file>

<file path=ppt/charts/_rels/chart386.xml.rels><?xml version='1.0' encoding='UTF-8' standalone='yes'?>
<Relationships xmlns="http://schemas.openxmlformats.org/package/2006/relationships"><Relationship Id="rId1" Type="http://schemas.openxmlformats.org/officeDocument/2006/relationships/package" Target="../embeddings/Microsoft_Excel_Worksheet385.xlsx"/></Relationships>
</file>

<file path=ppt/charts/_rels/chart387.xml.rels><?xml version='1.0' encoding='UTF-8' standalone='yes'?>
<Relationships xmlns="http://schemas.openxmlformats.org/package/2006/relationships"><Relationship Id="rId1" Type="http://schemas.openxmlformats.org/officeDocument/2006/relationships/package" Target="../embeddings/Microsoft_Excel_Worksheet386.xlsx"/></Relationships>
</file>

<file path=ppt/charts/_rels/chart388.xml.rels><?xml version='1.0' encoding='UTF-8' standalone='yes'?>
<Relationships xmlns="http://schemas.openxmlformats.org/package/2006/relationships"><Relationship Id="rId1" Type="http://schemas.openxmlformats.org/officeDocument/2006/relationships/package" Target="../embeddings/Microsoft_Excel_Worksheet387.xlsx"/></Relationships>
</file>

<file path=ppt/charts/_rels/chart389.xml.rels><?xml version='1.0' encoding='UTF-8' standalone='yes'?>
<Relationships xmlns="http://schemas.openxmlformats.org/package/2006/relationships"><Relationship Id="rId1" Type="http://schemas.openxmlformats.org/officeDocument/2006/relationships/package" Target="../embeddings/Microsoft_Excel_Worksheet38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0.xml.rels><?xml version='1.0' encoding='UTF-8' standalone='yes'?>
<Relationships xmlns="http://schemas.openxmlformats.org/package/2006/relationships"><Relationship Id="rId1" Type="http://schemas.openxmlformats.org/officeDocument/2006/relationships/package" Target="../embeddings/Microsoft_Excel_Worksheet389.xlsx"/></Relationships>
</file>

<file path=ppt/charts/_rels/chart391.xml.rels><?xml version='1.0' encoding='UTF-8' standalone='yes'?>
<Relationships xmlns="http://schemas.openxmlformats.org/package/2006/relationships"><Relationship Id="rId1" Type="http://schemas.openxmlformats.org/officeDocument/2006/relationships/package" Target="../embeddings/Microsoft_Excel_Worksheet390.xlsx"/></Relationships>
</file>

<file path=ppt/charts/_rels/chart392.xml.rels><?xml version='1.0' encoding='UTF-8' standalone='yes'?>
<Relationships xmlns="http://schemas.openxmlformats.org/package/2006/relationships"><Relationship Id="rId1" Type="http://schemas.openxmlformats.org/officeDocument/2006/relationships/package" Target="../embeddings/Microsoft_Excel_Worksheet391.xlsx"/></Relationships>
</file>

<file path=ppt/charts/_rels/chart393.xml.rels><?xml version='1.0' encoding='UTF-8' standalone='yes'?>
<Relationships xmlns="http://schemas.openxmlformats.org/package/2006/relationships"><Relationship Id="rId1" Type="http://schemas.openxmlformats.org/officeDocument/2006/relationships/package" Target="../embeddings/Microsoft_Excel_Worksheet392.xlsx"/></Relationships>
</file>

<file path=ppt/charts/_rels/chart394.xml.rels><?xml version='1.0' encoding='UTF-8' standalone='yes'?>
<Relationships xmlns="http://schemas.openxmlformats.org/package/2006/relationships"><Relationship Id="rId1" Type="http://schemas.openxmlformats.org/officeDocument/2006/relationships/package" Target="../embeddings/Microsoft_Excel_Worksheet393.xlsx"/></Relationships>
</file>

<file path=ppt/charts/_rels/chart395.xml.rels><?xml version='1.0' encoding='UTF-8' standalone='yes'?>
<Relationships xmlns="http://schemas.openxmlformats.org/package/2006/relationships"><Relationship Id="rId1" Type="http://schemas.openxmlformats.org/officeDocument/2006/relationships/package" Target="../embeddings/Microsoft_Excel_Worksheet394.xlsx"/></Relationships>
</file>

<file path=ppt/charts/_rels/chart396.xml.rels><?xml version='1.0' encoding='UTF-8' standalone='yes'?>
<Relationships xmlns="http://schemas.openxmlformats.org/package/2006/relationships"><Relationship Id="rId1" Type="http://schemas.openxmlformats.org/officeDocument/2006/relationships/package" Target="../embeddings/Microsoft_Excel_Worksheet395.xlsx"/></Relationships>
</file>

<file path=ppt/charts/_rels/chart397.xml.rels><?xml version='1.0' encoding='UTF-8' standalone='yes'?>
<Relationships xmlns="http://schemas.openxmlformats.org/package/2006/relationships"><Relationship Id="rId1" Type="http://schemas.openxmlformats.org/officeDocument/2006/relationships/package" Target="../embeddings/Microsoft_Excel_Worksheet396.xlsx"/></Relationships>
</file>

<file path=ppt/charts/_rels/chart398.xml.rels><?xml version='1.0' encoding='UTF-8' standalone='yes'?>
<Relationships xmlns="http://schemas.openxmlformats.org/package/2006/relationships"><Relationship Id="rId1" Type="http://schemas.openxmlformats.org/officeDocument/2006/relationships/package" Target="../embeddings/Microsoft_Excel_Worksheet397.xlsx"/></Relationships>
</file>

<file path=ppt/charts/_rels/chart399.xml.rels><?xml version='1.0' encoding='UTF-8' standalone='yes'?>
<Relationships xmlns="http://schemas.openxmlformats.org/package/2006/relationships"><Relationship Id="rId1" Type="http://schemas.openxmlformats.org/officeDocument/2006/relationships/package" Target="../embeddings/Microsoft_Excel_Worksheet39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00.xml.rels><?xml version='1.0' encoding='UTF-8' standalone='yes'?>
<Relationships xmlns="http://schemas.openxmlformats.org/package/2006/relationships"><Relationship Id="rId1" Type="http://schemas.openxmlformats.org/officeDocument/2006/relationships/package" Target="../embeddings/Microsoft_Excel_Worksheet399.xlsx"/></Relationships>
</file>

<file path=ppt/charts/_rels/chart401.xml.rels><?xml version='1.0' encoding='UTF-8' standalone='yes'?>
<Relationships xmlns="http://schemas.openxmlformats.org/package/2006/relationships"><Relationship Id="rId1" Type="http://schemas.openxmlformats.org/officeDocument/2006/relationships/package" Target="../embeddings/Microsoft_Excel_Worksheet400.xlsx"/></Relationships>
</file>

<file path=ppt/charts/_rels/chart402.xml.rels><?xml version='1.0' encoding='UTF-8' standalone='yes'?>
<Relationships xmlns="http://schemas.openxmlformats.org/package/2006/relationships"><Relationship Id="rId1" Type="http://schemas.openxmlformats.org/officeDocument/2006/relationships/package" Target="../embeddings/Microsoft_Excel_Worksheet401.xlsx"/></Relationships>
</file>

<file path=ppt/charts/_rels/chart403.xml.rels><?xml version='1.0' encoding='UTF-8' standalone='yes'?>
<Relationships xmlns="http://schemas.openxmlformats.org/package/2006/relationships"><Relationship Id="rId1" Type="http://schemas.openxmlformats.org/officeDocument/2006/relationships/package" Target="../embeddings/Microsoft_Excel_Worksheet402.xlsx"/></Relationships>
</file>

<file path=ppt/charts/_rels/chart404.xml.rels><?xml version='1.0' encoding='UTF-8' standalone='yes'?>
<Relationships xmlns="http://schemas.openxmlformats.org/package/2006/relationships"><Relationship Id="rId1" Type="http://schemas.openxmlformats.org/officeDocument/2006/relationships/package" Target="../embeddings/Microsoft_Excel_Worksheet403.xlsx"/></Relationships>
</file>

<file path=ppt/charts/_rels/chart405.xml.rels><?xml version='1.0' encoding='UTF-8' standalone='yes'?>
<Relationships xmlns="http://schemas.openxmlformats.org/package/2006/relationships"><Relationship Id="rId1" Type="http://schemas.openxmlformats.org/officeDocument/2006/relationships/package" Target="../embeddings/Microsoft_Excel_Worksheet404.xlsx"/></Relationships>
</file>

<file path=ppt/charts/_rels/chart406.xml.rels><?xml version='1.0' encoding='UTF-8' standalone='yes'?>
<Relationships xmlns="http://schemas.openxmlformats.org/package/2006/relationships"><Relationship Id="rId1" Type="http://schemas.openxmlformats.org/officeDocument/2006/relationships/package" Target="../embeddings/Microsoft_Excel_Worksheet405.xlsx"/></Relationships>
</file>

<file path=ppt/charts/_rels/chart407.xml.rels><?xml version='1.0' encoding='UTF-8' standalone='yes'?>
<Relationships xmlns="http://schemas.openxmlformats.org/package/2006/relationships"><Relationship Id="rId1" Type="http://schemas.openxmlformats.org/officeDocument/2006/relationships/package" Target="../embeddings/Microsoft_Excel_Worksheet406.xlsx"/></Relationships>
</file>

<file path=ppt/charts/_rels/chart408.xml.rels><?xml version='1.0' encoding='UTF-8' standalone='yes'?>
<Relationships xmlns="http://schemas.openxmlformats.org/package/2006/relationships"><Relationship Id="rId1" Type="http://schemas.openxmlformats.org/officeDocument/2006/relationships/package" Target="../embeddings/Microsoft_Excel_Worksheet407.xlsx"/></Relationships>
</file>

<file path=ppt/charts/_rels/chart409.xml.rels><?xml version='1.0' encoding='UTF-8' standalone='yes'?>
<Relationships xmlns="http://schemas.openxmlformats.org/package/2006/relationships"><Relationship Id="rId1" Type="http://schemas.openxmlformats.org/officeDocument/2006/relationships/package" Target="../embeddings/Microsoft_Excel_Worksheet40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0.xml.rels><?xml version='1.0' encoding='UTF-8' standalone='yes'?>
<Relationships xmlns="http://schemas.openxmlformats.org/package/2006/relationships"><Relationship Id="rId1" Type="http://schemas.openxmlformats.org/officeDocument/2006/relationships/package" Target="../embeddings/Microsoft_Excel_Worksheet409.xlsx"/></Relationships>
</file>

<file path=ppt/charts/_rels/chart411.xml.rels><?xml version='1.0' encoding='UTF-8' standalone='yes'?>
<Relationships xmlns="http://schemas.openxmlformats.org/package/2006/relationships"><Relationship Id="rId1" Type="http://schemas.openxmlformats.org/officeDocument/2006/relationships/package" Target="../embeddings/Microsoft_Excel_Worksheet410.xlsx"/></Relationships>
</file>

<file path=ppt/charts/_rels/chart412.xml.rels><?xml version='1.0' encoding='UTF-8' standalone='yes'?>
<Relationships xmlns="http://schemas.openxmlformats.org/package/2006/relationships"><Relationship Id="rId1" Type="http://schemas.openxmlformats.org/officeDocument/2006/relationships/package" Target="../embeddings/Microsoft_Excel_Worksheet411.xlsx"/></Relationships>
</file>

<file path=ppt/charts/_rels/chart413.xml.rels><?xml version='1.0' encoding='UTF-8' standalone='yes'?>
<Relationships xmlns="http://schemas.openxmlformats.org/package/2006/relationships"><Relationship Id="rId1" Type="http://schemas.openxmlformats.org/officeDocument/2006/relationships/package" Target="../embeddings/Microsoft_Excel_Worksheet412.xlsx"/></Relationships>
</file>

<file path=ppt/charts/_rels/chart414.xml.rels><?xml version='1.0' encoding='UTF-8' standalone='yes'?>
<Relationships xmlns="http://schemas.openxmlformats.org/package/2006/relationships"><Relationship Id="rId1" Type="http://schemas.openxmlformats.org/officeDocument/2006/relationships/package" Target="../embeddings/Microsoft_Excel_Worksheet413.xlsx"/></Relationships>
</file>

<file path=ppt/charts/_rels/chart415.xml.rels><?xml version='1.0' encoding='UTF-8' standalone='yes'?>
<Relationships xmlns="http://schemas.openxmlformats.org/package/2006/relationships"><Relationship Id="rId1" Type="http://schemas.openxmlformats.org/officeDocument/2006/relationships/package" Target="../embeddings/Microsoft_Excel_Worksheet414.xlsx"/></Relationships>
</file>

<file path=ppt/charts/_rels/chart416.xml.rels><?xml version='1.0' encoding='UTF-8' standalone='yes'?>
<Relationships xmlns="http://schemas.openxmlformats.org/package/2006/relationships"><Relationship Id="rId1" Type="http://schemas.openxmlformats.org/officeDocument/2006/relationships/package" Target="../embeddings/Microsoft_Excel_Worksheet415.xlsx"/></Relationships>
</file>

<file path=ppt/charts/_rels/chart417.xml.rels><?xml version='1.0' encoding='UTF-8' standalone='yes'?>
<Relationships xmlns="http://schemas.openxmlformats.org/package/2006/relationships"><Relationship Id="rId1" Type="http://schemas.openxmlformats.org/officeDocument/2006/relationships/package" Target="../embeddings/Microsoft_Excel_Worksheet416.xlsx"/></Relationships>
</file>

<file path=ppt/charts/_rels/chart418.xml.rels><?xml version='1.0' encoding='UTF-8' standalone='yes'?>
<Relationships xmlns="http://schemas.openxmlformats.org/package/2006/relationships"><Relationship Id="rId1" Type="http://schemas.openxmlformats.org/officeDocument/2006/relationships/package" Target="../embeddings/Microsoft_Excel_Worksheet417.xlsx"/></Relationships>
</file>

<file path=ppt/charts/_rels/chart419.xml.rels><?xml version='1.0' encoding='UTF-8' standalone='yes'?>
<Relationships xmlns="http://schemas.openxmlformats.org/package/2006/relationships"><Relationship Id="rId1" Type="http://schemas.openxmlformats.org/officeDocument/2006/relationships/package" Target="../embeddings/Microsoft_Excel_Worksheet418.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0.xml.rels><?xml version='1.0' encoding='UTF-8' standalone='yes'?>
<Relationships xmlns="http://schemas.openxmlformats.org/package/2006/relationships"><Relationship Id="rId1" Type="http://schemas.openxmlformats.org/officeDocument/2006/relationships/package" Target="../embeddings/Microsoft_Excel_Worksheet419.xlsx"/></Relationships>
</file>

<file path=ppt/charts/_rels/chart421.xml.rels><?xml version='1.0' encoding='UTF-8' standalone='yes'?>
<Relationships xmlns="http://schemas.openxmlformats.org/package/2006/relationships"><Relationship Id="rId1" Type="http://schemas.openxmlformats.org/officeDocument/2006/relationships/package" Target="../embeddings/Microsoft_Excel_Worksheet420.xlsx"/></Relationships>
</file>

<file path=ppt/charts/_rels/chart422.xml.rels><?xml version='1.0' encoding='UTF-8' standalone='yes'?>
<Relationships xmlns="http://schemas.openxmlformats.org/package/2006/relationships"><Relationship Id="rId1" Type="http://schemas.openxmlformats.org/officeDocument/2006/relationships/package" Target="../embeddings/Microsoft_Excel_Worksheet421.xlsx"/></Relationships>
</file>

<file path=ppt/charts/_rels/chart423.xml.rels><?xml version='1.0' encoding='UTF-8' standalone='yes'?>
<Relationships xmlns="http://schemas.openxmlformats.org/package/2006/relationships"><Relationship Id="rId1" Type="http://schemas.openxmlformats.org/officeDocument/2006/relationships/package" Target="../embeddings/Microsoft_Excel_Worksheet422.xlsx"/></Relationships>
</file>

<file path=ppt/charts/_rels/chart424.xml.rels><?xml version='1.0' encoding='UTF-8' standalone='yes'?>
<Relationships xmlns="http://schemas.openxmlformats.org/package/2006/relationships"><Relationship Id="rId1" Type="http://schemas.openxmlformats.org/officeDocument/2006/relationships/package" Target="../embeddings/Microsoft_Excel_Worksheet423.xlsx"/></Relationships>
</file>

<file path=ppt/charts/_rels/chart425.xml.rels><?xml version='1.0' encoding='UTF-8' standalone='yes'?>
<Relationships xmlns="http://schemas.openxmlformats.org/package/2006/relationships"><Relationship Id="rId1" Type="http://schemas.openxmlformats.org/officeDocument/2006/relationships/package" Target="../embeddings/Microsoft_Excel_Worksheet424.xlsx"/></Relationships>
</file>

<file path=ppt/charts/_rels/chart426.xml.rels><?xml version='1.0' encoding='UTF-8' standalone='yes'?>
<Relationships xmlns="http://schemas.openxmlformats.org/package/2006/relationships"><Relationship Id="rId1" Type="http://schemas.openxmlformats.org/officeDocument/2006/relationships/package" Target="../embeddings/Microsoft_Excel_Worksheet425.xlsx"/></Relationships>
</file>

<file path=ppt/charts/_rels/chart427.xml.rels><?xml version='1.0' encoding='UTF-8' standalone='yes'?>
<Relationships xmlns="http://schemas.openxmlformats.org/package/2006/relationships"><Relationship Id="rId1" Type="http://schemas.openxmlformats.org/officeDocument/2006/relationships/package" Target="../embeddings/Microsoft_Excel_Worksheet426.xlsx"/></Relationships>
</file>

<file path=ppt/charts/_rels/chart428.xml.rels><?xml version='1.0' encoding='UTF-8' standalone='yes'?>
<Relationships xmlns="http://schemas.openxmlformats.org/package/2006/relationships"><Relationship Id="rId1" Type="http://schemas.openxmlformats.org/officeDocument/2006/relationships/package" Target="../embeddings/Microsoft_Excel_Worksheet427.xlsx"/></Relationships>
</file>

<file path=ppt/charts/_rels/chart429.xml.rels><?xml version='1.0' encoding='UTF-8' standalone='yes'?>
<Relationships xmlns="http://schemas.openxmlformats.org/package/2006/relationships"><Relationship Id="rId1" Type="http://schemas.openxmlformats.org/officeDocument/2006/relationships/package" Target="../embeddings/Microsoft_Excel_Worksheet428.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0.xml.rels><?xml version='1.0' encoding='UTF-8' standalone='yes'?>
<Relationships xmlns="http://schemas.openxmlformats.org/package/2006/relationships"><Relationship Id="rId1" Type="http://schemas.openxmlformats.org/officeDocument/2006/relationships/package" Target="../embeddings/Microsoft_Excel_Worksheet429.xlsx"/></Relationships>
</file>

<file path=ppt/charts/_rels/chart431.xml.rels><?xml version='1.0' encoding='UTF-8' standalone='yes'?>
<Relationships xmlns="http://schemas.openxmlformats.org/package/2006/relationships"><Relationship Id="rId1" Type="http://schemas.openxmlformats.org/officeDocument/2006/relationships/package" Target="../embeddings/Microsoft_Excel_Worksheet430.xlsx"/></Relationships>
</file>

<file path=ppt/charts/_rels/chart432.xml.rels><?xml version='1.0' encoding='UTF-8' standalone='yes'?>
<Relationships xmlns="http://schemas.openxmlformats.org/package/2006/relationships"><Relationship Id="rId1" Type="http://schemas.openxmlformats.org/officeDocument/2006/relationships/package" Target="../embeddings/Microsoft_Excel_Worksheet431.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71846274012195</c:v>
                </c:pt>
                <c:pt idx="2">
                  <c:v>0.0008995437474327468</c:v>
                </c:pt>
                <c:pt idx="5">
                  <c:v>0.005871580870070205</c:v>
                </c:pt>
                <c:pt idx="6">
                  <c:v>0.0008599193631115839</c:v>
                </c:pt>
                <c:pt idx="7">
                  <c:v>0.007295646936743262</c:v>
                </c:pt>
                <c:pt idx="8">
                  <c:v>0.006936293372310588</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805143728589867</c:v>
                </c:pt>
                <c:pt idx="2">
                  <c:v>0.0006299091368661346</c:v>
                </c:pt>
                <c:pt idx="3">
                  <c:v>0.012583890560351535</c:v>
                </c:pt>
                <c:pt idx="4">
                  <c:v>0.004100197059361852</c:v>
                </c:pt>
                <c:pt idx="5">
                  <c:v>0.01622750350618817</c:v>
                </c:pt>
                <c:pt idx="6">
                  <c:v>0.01836820453752616</c:v>
                </c:pt>
                <c:pt idx="7">
                  <c:v>0.01793443149824045</c:v>
                </c:pt>
                <c:pt idx="8">
                  <c:v>0.048324624737107115</c:v>
                </c:pt>
                <c:pt idx="9">
                  <c:v>0.01499439312659451</c:v>
                </c:pt>
                <c:pt idx="10">
                  <c:v>0.0140818235247575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903751391961911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149592469193508</c:v>
                </c:pt>
                <c:pt idx="1">
                  <c:v>0.002080757925829484</c:v>
                </c:pt>
                <c:pt idx="2">
                  <c:v>0.0075634856716695195</c:v>
                </c:pt>
                <c:pt idx="3">
                  <c:v>0.029240188155732764</c:v>
                </c:pt>
                <c:pt idx="4">
                  <c:v>0.008413044213779057</c:v>
                </c:pt>
                <c:pt idx="5">
                  <c:v>0.038328354978028556</c:v>
                </c:pt>
                <c:pt idx="6">
                  <c:v>0.04087858472750747</c:v>
                </c:pt>
                <c:pt idx="7">
                  <c:v>0.06373048060176294</c:v>
                </c:pt>
                <c:pt idx="8">
                  <c:v>0.047529569869480016</c:v>
                </c:pt>
                <c:pt idx="9">
                  <c:v>0.04058292143217905</c:v>
                </c:pt>
                <c:pt idx="10">
                  <c:v>0.0433483742139288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870403051938693</c:v>
                </c:pt>
                <c:pt idx="2">
                  <c:v>0.0009801566908403424</c:v>
                </c:pt>
                <c:pt idx="3">
                  <c:v>0.003969063601545941</c:v>
                </c:pt>
                <c:pt idx="4">
                  <c:v>0.017409661670498424</c:v>
                </c:pt>
                <c:pt idx="5">
                  <c:v>0.037708397985336053</c:v>
                </c:pt>
                <c:pt idx="6">
                  <c:v>0.022910405732858685</c:v>
                </c:pt>
                <c:pt idx="7">
                  <c:v>0.05028988253281045</c:v>
                </c:pt>
                <c:pt idx="8">
                  <c:v>0.047662769735484674</c:v>
                </c:pt>
                <c:pt idx="9">
                  <c:v>0.037246702533449826</c:v>
                </c:pt>
                <c:pt idx="10">
                  <c:v>0.0101917439153171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252761138651</c:v>
                </c:pt>
                <c:pt idx="1">
                  <c:v>0.012001151939103054</c:v>
                </c:pt>
                <c:pt idx="2">
                  <c:v>0.014271461085164992</c:v>
                </c:pt>
                <c:pt idx="3">
                  <c:v>0.0735456259416907</c:v>
                </c:pt>
                <c:pt idx="4">
                  <c:v>0.054250404213041364</c:v>
                </c:pt>
                <c:pt idx="5">
                  <c:v>0.12550902281882184</c:v>
                </c:pt>
                <c:pt idx="6">
                  <c:v>0.1211517910584342</c:v>
                </c:pt>
                <c:pt idx="7">
                  <c:v>0.187042554643229</c:v>
                </c:pt>
                <c:pt idx="8">
                  <c:v>0.21492993040072444</c:v>
                </c:pt>
                <c:pt idx="9">
                  <c:v>0.1152067634794828</c:v>
                </c:pt>
                <c:pt idx="10">
                  <c:v>0.067668766808921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39133595683903</c:v>
                </c:pt>
                <c:pt idx="1">
                  <c:v>0.0028294596314957583</c:v>
                </c:pt>
                <c:pt idx="3">
                  <c:v>0.0012810003966697882</c:v>
                </c:pt>
                <c:pt idx="4">
                  <c:v>0.003726574342004692</c:v>
                </c:pt>
                <c:pt idx="5">
                  <c:v>0.007234938281682933</c:v>
                </c:pt>
                <c:pt idx="6">
                  <c:v>0.005316442324768845</c:v>
                </c:pt>
                <c:pt idx="7">
                  <c:v>0.007076659472841658</c:v>
                </c:pt>
                <c:pt idx="8">
                  <c:v>0.0013721871335111396</c:v>
                </c:pt>
                <c:pt idx="9">
                  <c:v>0.000986125674939855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986770156853</c:v>
                </c:pt>
                <c:pt idx="1">
                  <c:v>0.019837674558354175</c:v>
                </c:pt>
                <c:pt idx="2">
                  <c:v>0.020649080415175616</c:v>
                </c:pt>
                <c:pt idx="3">
                  <c:v>0.03811818346706814</c:v>
                </c:pt>
                <c:pt idx="4">
                  <c:v>0.0616614173974536</c:v>
                </c:pt>
                <c:pt idx="5">
                  <c:v>0.09924682877793033</c:v>
                </c:pt>
                <c:pt idx="6">
                  <c:v>0.1332016043949691</c:v>
                </c:pt>
                <c:pt idx="7">
                  <c:v>0.178550942531587</c:v>
                </c:pt>
                <c:pt idx="8">
                  <c:v>0.244227964219498</c:v>
                </c:pt>
                <c:pt idx="9">
                  <c:v>0.09523057734203796</c:v>
                </c:pt>
                <c:pt idx="10">
                  <c:v>0.0925858591943575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986770156853</c:v>
                </c:pt>
                <c:pt idx="1">
                  <c:v>0.019837674558354175</c:v>
                </c:pt>
                <c:pt idx="2">
                  <c:v>0.020649080415175616</c:v>
                </c:pt>
                <c:pt idx="3">
                  <c:v>0.03811818346706814</c:v>
                </c:pt>
                <c:pt idx="4">
                  <c:v>0.0616614173974536</c:v>
                </c:pt>
                <c:pt idx="5">
                  <c:v>0.09924682877793033</c:v>
                </c:pt>
                <c:pt idx="6">
                  <c:v>0.1332016043949691</c:v>
                </c:pt>
                <c:pt idx="7">
                  <c:v>0.178550942531587</c:v>
                </c:pt>
                <c:pt idx="8">
                  <c:v>0.244227964219498</c:v>
                </c:pt>
                <c:pt idx="9">
                  <c:v>0.09523057734203796</c:v>
                </c:pt>
                <c:pt idx="10">
                  <c:v>0.0925858591943575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83782738305525</c:v>
                </c:pt>
                <c:pt idx="1">
                  <c:v>0.002355786925505575</c:v>
                </c:pt>
                <c:pt idx="2">
                  <c:v>0.003615018191896099</c:v>
                </c:pt>
                <c:pt idx="3">
                  <c:v>0.008519113198318249</c:v>
                </c:pt>
                <c:pt idx="4">
                  <c:v>0.017346106221606254</c:v>
                </c:pt>
                <c:pt idx="5">
                  <c:v>0.012758648255220202</c:v>
                </c:pt>
                <c:pt idx="6">
                  <c:v>0.007208841217925557</c:v>
                </c:pt>
                <c:pt idx="7">
                  <c:v>0.02920603163832545</c:v>
                </c:pt>
                <c:pt idx="8">
                  <c:v>0.017426642779263066</c:v>
                </c:pt>
                <c:pt idx="9">
                  <c:v>0.00450099948999252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96506476830576</c:v>
                </c:pt>
                <c:pt idx="4">
                  <c:v>0.00412012442685261</c:v>
                </c:pt>
                <c:pt idx="5">
                  <c:v>0.004348509121795438</c:v>
                </c:pt>
                <c:pt idx="6">
                  <c:v>0.002366518625871674</c:v>
                </c:pt>
                <c:pt idx="7">
                  <c:v>0.00738738341707654</c:v>
                </c:pt>
                <c:pt idx="8">
                  <c:v>0.0018716614222395156</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890457423221978</c:v>
                </c:pt>
                <c:pt idx="2">
                  <c:v>0.001029771326241639</c:v>
                </c:pt>
                <c:pt idx="3">
                  <c:v>0.007787921095017421</c:v>
                </c:pt>
                <c:pt idx="4">
                  <c:v>0.0032212148231013735</c:v>
                </c:pt>
                <c:pt idx="5">
                  <c:v>0.002862098295903899</c:v>
                </c:pt>
                <c:pt idx="6">
                  <c:v>0.024264440625739833</c:v>
                </c:pt>
                <c:pt idx="7">
                  <c:v>0.019399357267758738</c:v>
                </c:pt>
                <c:pt idx="8">
                  <c:v>0.04074114231022481</c:v>
                </c:pt>
                <c:pt idx="9">
                  <c:v>0.01933782695649262</c:v>
                </c:pt>
                <c:pt idx="10">
                  <c:v>0.01397260239860228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201397954038178</c:v>
                </c:pt>
                <c:pt idx="1">
                  <c:v>0.0023813514759300674</c:v>
                </c:pt>
                <c:pt idx="2">
                  <c:v>0.0006203665261118533</c:v>
                </c:pt>
                <c:pt idx="3">
                  <c:v>0.0012100558991468265</c:v>
                </c:pt>
                <c:pt idx="4">
                  <c:v>0.0022061403080321576</c:v>
                </c:pt>
                <c:pt idx="5">
                  <c:v>0.006758491787443898</c:v>
                </c:pt>
                <c:pt idx="6">
                  <c:v>0.01111422173033362</c:v>
                </c:pt>
                <c:pt idx="7">
                  <c:v>0.0037270189298570975</c:v>
                </c:pt>
                <c:pt idx="8">
                  <c:v>0.0012316922306662747</c:v>
                </c:pt>
                <c:pt idx="9">
                  <c:v>0.000759658816626014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126743556408643</c:v>
                </c:pt>
                <c:pt idx="1">
                  <c:v>0.005681690972883015</c:v>
                </c:pt>
                <c:pt idx="2">
                  <c:v>0.006286404572714272</c:v>
                </c:pt>
                <c:pt idx="3">
                  <c:v>0.014218547638554395</c:v>
                </c:pt>
                <c:pt idx="4">
                  <c:v>0.02490252909892907</c:v>
                </c:pt>
                <c:pt idx="5">
                  <c:v>0.03200044328693713</c:v>
                </c:pt>
                <c:pt idx="6">
                  <c:v>0.03749363355306739</c:v>
                </c:pt>
                <c:pt idx="7">
                  <c:v>0.06543016875347116</c:v>
                </c:pt>
                <c:pt idx="8">
                  <c:v>0.06776492037801564</c:v>
                </c:pt>
                <c:pt idx="9">
                  <c:v>0.017150470006280925</c:v>
                </c:pt>
                <c:pt idx="10">
                  <c:v>0.0730922738620794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51962907775696</c:v>
                </c:pt>
                <c:pt idx="1">
                  <c:v>0.004096841794238541</c:v>
                </c:pt>
                <c:pt idx="2">
                  <c:v>0.00252613143675963</c:v>
                </c:pt>
                <c:pt idx="3">
                  <c:v>0.0031809580729921178</c:v>
                </c:pt>
                <c:pt idx="4">
                  <c:v>0.0062049180485995</c:v>
                </c:pt>
                <c:pt idx="5">
                  <c:v>0.03363766205661113</c:v>
                </c:pt>
                <c:pt idx="6">
                  <c:v>0.03068622079878237</c:v>
                </c:pt>
                <c:pt idx="7">
                  <c:v>0.035280975675809095</c:v>
                </c:pt>
                <c:pt idx="8">
                  <c:v>0.059619352283201726</c:v>
                </c:pt>
                <c:pt idx="9">
                  <c:v>0.0424137911395906</c:v>
                </c:pt>
                <c:pt idx="10">
                  <c:v>0.00465704762091929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986770156853</c:v>
                </c:pt>
                <c:pt idx="1">
                  <c:v>0.019837674558354175</c:v>
                </c:pt>
                <c:pt idx="2">
                  <c:v>0.020649080415175616</c:v>
                </c:pt>
                <c:pt idx="3">
                  <c:v>0.03811818346706814</c:v>
                </c:pt>
                <c:pt idx="4">
                  <c:v>0.0616614173974536</c:v>
                </c:pt>
                <c:pt idx="5">
                  <c:v>0.09924682877793033</c:v>
                </c:pt>
                <c:pt idx="6">
                  <c:v>0.1332016043949691</c:v>
                </c:pt>
                <c:pt idx="7">
                  <c:v>0.178550942531587</c:v>
                </c:pt>
                <c:pt idx="8">
                  <c:v>0.244227964219498</c:v>
                </c:pt>
                <c:pt idx="9">
                  <c:v>0.09523057734203796</c:v>
                </c:pt>
                <c:pt idx="10">
                  <c:v>0.0925858591943575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201397954038178</c:v>
                </c:pt>
                <c:pt idx="1">
                  <c:v>0.0023813514759300674</c:v>
                </c:pt>
                <c:pt idx="2">
                  <c:v>0.0006203665261118533</c:v>
                </c:pt>
                <c:pt idx="3">
                  <c:v>0.0012100558991468265</c:v>
                </c:pt>
                <c:pt idx="4">
                  <c:v>0.0022061403080321576</c:v>
                </c:pt>
                <c:pt idx="5">
                  <c:v>0.006758491787443898</c:v>
                </c:pt>
                <c:pt idx="6">
                  <c:v>0.01111422173033362</c:v>
                </c:pt>
                <c:pt idx="7">
                  <c:v>0.0037270189298570975</c:v>
                </c:pt>
                <c:pt idx="8">
                  <c:v>0.0012316922306662747</c:v>
                </c:pt>
                <c:pt idx="9">
                  <c:v>0.000759658816626014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11314270013406</c:v>
                </c:pt>
                <c:pt idx="1">
                  <c:v>0.004948769557768145</c:v>
                </c:pt>
                <c:pt idx="2">
                  <c:v>0.0037158044669079945</c:v>
                </c:pt>
                <c:pt idx="3">
                  <c:v>0.011783536209714679</c:v>
                </c:pt>
                <c:pt idx="4">
                  <c:v>0.01802717058757774</c:v>
                </c:pt>
                <c:pt idx="5">
                  <c:v>0.010869254450006912</c:v>
                </c:pt>
                <c:pt idx="6">
                  <c:v>0.010434324914567557</c:v>
                </c:pt>
                <c:pt idx="7">
                  <c:v>0.02133951590923541</c:v>
                </c:pt>
                <c:pt idx="8">
                  <c:v>0.020339809368483234</c:v>
                </c:pt>
                <c:pt idx="9">
                  <c:v>0.0022830431841173848</c:v>
                </c:pt>
                <c:pt idx="10">
                  <c:v>0.0012343396389064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33505707366851</c:v>
                </c:pt>
                <c:pt idx="4">
                  <c:v>0.007984190768593007</c:v>
                </c:pt>
                <c:pt idx="5">
                  <c:v>0.0037744728815551137</c:v>
                </c:pt>
                <c:pt idx="6">
                  <c:v>0.0034438242223271344</c:v>
                </c:pt>
                <c:pt idx="7">
                  <c:v>0.00436629017630431</c:v>
                </c:pt>
                <c:pt idx="8">
                  <c:v>0.0019560900311123767</c:v>
                </c:pt>
                <c:pt idx="9">
                  <c:v>0.0015140984734152224</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676654634519031</c:v>
                </c:pt>
                <c:pt idx="2">
                  <c:v>0.000594872847455506</c:v>
                </c:pt>
                <c:pt idx="3">
                  <c:v>0.008650589688322628</c:v>
                </c:pt>
                <c:pt idx="4">
                  <c:v>0.0033209441336984396</c:v>
                </c:pt>
                <c:pt idx="5">
                  <c:v>0.008698360866326887</c:v>
                </c:pt>
                <c:pt idx="6">
                  <c:v>0.016342961653318288</c:v>
                </c:pt>
                <c:pt idx="7">
                  <c:v>0.03266522847178794</c:v>
                </c:pt>
                <c:pt idx="8">
                  <c:v>0.032846479531879955</c:v>
                </c:pt>
                <c:pt idx="9">
                  <c:v>0.021186787847783866</c:v>
                </c:pt>
                <c:pt idx="10">
                  <c:v>0.0056726381059798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6531424538872</c:v>
                </c:pt>
                <c:pt idx="1">
                  <c:v>0.006484058604671671</c:v>
                </c:pt>
                <c:pt idx="2">
                  <c:v>0.017607473748520872</c:v>
                </c:pt>
                <c:pt idx="3">
                  <c:v>0.0144704216098494</c:v>
                </c:pt>
                <c:pt idx="4">
                  <c:v>0.012628130636830003</c:v>
                </c:pt>
                <c:pt idx="5">
                  <c:v>0.044507068052242346</c:v>
                </c:pt>
                <c:pt idx="6">
                  <c:v>0.05388309462556401</c:v>
                </c:pt>
                <c:pt idx="7">
                  <c:v>0.05930241930010393</c:v>
                </c:pt>
                <c:pt idx="8">
                  <c:v>0.058665760192039416</c:v>
                </c:pt>
                <c:pt idx="9">
                  <c:v>0.07077977380581564</c:v>
                </c:pt>
                <c:pt idx="10">
                  <c:v>0.01671005611599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986770156853</c:v>
                </c:pt>
                <c:pt idx="1">
                  <c:v>0.019837674558354175</c:v>
                </c:pt>
                <c:pt idx="2">
                  <c:v>0.020649080415175616</c:v>
                </c:pt>
                <c:pt idx="3">
                  <c:v>0.03811818346706814</c:v>
                </c:pt>
                <c:pt idx="4">
                  <c:v>0.0616614173974536</c:v>
                </c:pt>
                <c:pt idx="5">
                  <c:v>0.09924682877793033</c:v>
                </c:pt>
                <c:pt idx="6">
                  <c:v>0.1332016043949691</c:v>
                </c:pt>
                <c:pt idx="7">
                  <c:v>0.178550942531587</c:v>
                </c:pt>
                <c:pt idx="8">
                  <c:v>0.244227964219498</c:v>
                </c:pt>
                <c:pt idx="9">
                  <c:v>0.09523057734203796</c:v>
                </c:pt>
                <c:pt idx="10">
                  <c:v>0.0925858591943575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3166705241142</c:v>
                </c:pt>
                <c:pt idx="1">
                  <c:v>0.004557672331505151</c:v>
                </c:pt>
                <c:pt idx="2">
                  <c:v>0.003583180860652393</c:v>
                </c:pt>
                <c:pt idx="3">
                  <c:v>0.0038627459064201563</c:v>
                </c:pt>
                <c:pt idx="4">
                  <c:v>0.012700932109422533</c:v>
                </c:pt>
                <c:pt idx="5">
                  <c:v>0.032092645836257816</c:v>
                </c:pt>
                <c:pt idx="6">
                  <c:v>0.028317091343125246</c:v>
                </c:pt>
                <c:pt idx="7">
                  <c:v>0.039559731629814326</c:v>
                </c:pt>
                <c:pt idx="8">
                  <c:v>0.0548241597919585</c:v>
                </c:pt>
                <c:pt idx="9">
                  <c:v>0.03423495783400359</c:v>
                </c:pt>
                <c:pt idx="10">
                  <c:v>0.00123794501083134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536403900010128</c:v>
                </c:pt>
                <c:pt idx="1">
                  <c:v>0.0005926825840111598</c:v>
                </c:pt>
                <c:pt idx="2">
                  <c:v>0.002300763587128022</c:v>
                </c:pt>
                <c:pt idx="3">
                  <c:v>0.0008153503540898862</c:v>
                </c:pt>
                <c:pt idx="4">
                  <c:v>0.004046164696381986</c:v>
                </c:pt>
                <c:pt idx="5">
                  <c:v>0.008077394139565281</c:v>
                </c:pt>
                <c:pt idx="6">
                  <c:v>0.0063320831646094386</c:v>
                </c:pt>
                <c:pt idx="7">
                  <c:v>0.0021962123080222825</c:v>
                </c:pt>
                <c:pt idx="8">
                  <c:v>0.0023832860437729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252761138651</c:v>
                </c:pt>
                <c:pt idx="1">
                  <c:v>0.012001151939103054</c:v>
                </c:pt>
                <c:pt idx="2">
                  <c:v>0.014271461085164992</c:v>
                </c:pt>
                <c:pt idx="3">
                  <c:v>0.0735456259416907</c:v>
                </c:pt>
                <c:pt idx="4">
                  <c:v>0.054250404213041364</c:v>
                </c:pt>
                <c:pt idx="5">
                  <c:v>0.12550902281882184</c:v>
                </c:pt>
                <c:pt idx="6">
                  <c:v>0.1211517910584342</c:v>
                </c:pt>
                <c:pt idx="7">
                  <c:v>0.187042554643229</c:v>
                </c:pt>
                <c:pt idx="8">
                  <c:v>0.21492993040072444</c:v>
                </c:pt>
                <c:pt idx="9">
                  <c:v>0.1152067634794828</c:v>
                </c:pt>
                <c:pt idx="10">
                  <c:v>0.067668766808921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71846274012195</c:v>
                </c:pt>
                <c:pt idx="2">
                  <c:v>0.0019823186142866995</c:v>
                </c:pt>
                <c:pt idx="3">
                  <c:v>0.025263037357793557</c:v>
                </c:pt>
                <c:pt idx="4">
                  <c:v>0.012456982015099791</c:v>
                </c:pt>
                <c:pt idx="5">
                  <c:v>0.012340146490266705</c:v>
                </c:pt>
                <c:pt idx="6">
                  <c:v>0.001980016209619578</c:v>
                </c:pt>
                <c:pt idx="7">
                  <c:v>0.025774435970431275</c:v>
                </c:pt>
                <c:pt idx="8">
                  <c:v>0.018941871684386186</c:v>
                </c:pt>
                <c:pt idx="9">
                  <c:v>0.0092325851550409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0817790768354225</c:v>
                </c:pt>
                <c:pt idx="3">
                  <c:v>0.00881698384459054</c:v>
                </c:pt>
                <c:pt idx="4">
                  <c:v>0.010103084067598002</c:v>
                </c:pt>
                <c:pt idx="6">
                  <c:v>0.0011139551820584471</c:v>
                </c:pt>
                <c:pt idx="7">
                  <c:v>0.01090514400142482</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805143728589867</c:v>
                </c:pt>
                <c:pt idx="2">
                  <c:v>0.0006299091368661346</c:v>
                </c:pt>
                <c:pt idx="3">
                  <c:v>0.012583890560351535</c:v>
                </c:pt>
                <c:pt idx="4">
                  <c:v>0.004100197059361852</c:v>
                </c:pt>
                <c:pt idx="5">
                  <c:v>0.01622750350618817</c:v>
                </c:pt>
                <c:pt idx="6">
                  <c:v>0.01836820453752616</c:v>
                </c:pt>
                <c:pt idx="7">
                  <c:v>0.01793443149824045</c:v>
                </c:pt>
                <c:pt idx="8">
                  <c:v>0.048324624737107115</c:v>
                </c:pt>
                <c:pt idx="9">
                  <c:v>0.01499439312659451</c:v>
                </c:pt>
                <c:pt idx="10">
                  <c:v>0.0140818235247575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149592469193508</c:v>
                </c:pt>
                <c:pt idx="1">
                  <c:v>0.002080757925829484</c:v>
                </c:pt>
                <c:pt idx="2">
                  <c:v>0.0075634856716695195</c:v>
                </c:pt>
                <c:pt idx="3">
                  <c:v>0.029240188155732764</c:v>
                </c:pt>
                <c:pt idx="4">
                  <c:v>0.008413044213779057</c:v>
                </c:pt>
                <c:pt idx="5">
                  <c:v>0.038328354978028556</c:v>
                </c:pt>
                <c:pt idx="6">
                  <c:v>0.04087858472750747</c:v>
                </c:pt>
                <c:pt idx="7">
                  <c:v>0.06373048060176294</c:v>
                </c:pt>
                <c:pt idx="8">
                  <c:v>0.047529569869480016</c:v>
                </c:pt>
                <c:pt idx="9">
                  <c:v>0.04058292143217905</c:v>
                </c:pt>
                <c:pt idx="10">
                  <c:v>0.0433483742139288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870403051938693</c:v>
                </c:pt>
                <c:pt idx="2">
                  <c:v>0.0009801566908403424</c:v>
                </c:pt>
                <c:pt idx="3">
                  <c:v>0.003969063601545941</c:v>
                </c:pt>
                <c:pt idx="4">
                  <c:v>0.017409661670498424</c:v>
                </c:pt>
                <c:pt idx="5">
                  <c:v>0.037708397985336053</c:v>
                </c:pt>
                <c:pt idx="6">
                  <c:v>0.022910405732858685</c:v>
                </c:pt>
                <c:pt idx="7">
                  <c:v>0.05028988253281045</c:v>
                </c:pt>
                <c:pt idx="8">
                  <c:v>0.047662769735484674</c:v>
                </c:pt>
                <c:pt idx="9">
                  <c:v>0.037246702533449826</c:v>
                </c:pt>
                <c:pt idx="10">
                  <c:v>0.0101917439153171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252761138651</c:v>
                </c:pt>
                <c:pt idx="1">
                  <c:v>0.012001151939103054</c:v>
                </c:pt>
                <c:pt idx="2">
                  <c:v>0.014271461085164992</c:v>
                </c:pt>
                <c:pt idx="3">
                  <c:v>0.0735456259416907</c:v>
                </c:pt>
                <c:pt idx="4">
                  <c:v>0.054250404213041364</c:v>
                </c:pt>
                <c:pt idx="5">
                  <c:v>0.12550902281882184</c:v>
                </c:pt>
                <c:pt idx="6">
                  <c:v>0.1211517910584342</c:v>
                </c:pt>
                <c:pt idx="7">
                  <c:v>0.187042554643229</c:v>
                </c:pt>
                <c:pt idx="8">
                  <c:v>0.21492993040072444</c:v>
                </c:pt>
                <c:pt idx="9">
                  <c:v>0.1152067634794828</c:v>
                </c:pt>
                <c:pt idx="10">
                  <c:v>0.067668766808921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39133595683903</c:v>
                </c:pt>
                <c:pt idx="1">
                  <c:v>0.0028294596314957583</c:v>
                </c:pt>
                <c:pt idx="3">
                  <c:v>0.0012810003966697882</c:v>
                </c:pt>
                <c:pt idx="4">
                  <c:v>0.003726574342004692</c:v>
                </c:pt>
                <c:pt idx="5">
                  <c:v>0.007234938281682933</c:v>
                </c:pt>
                <c:pt idx="6">
                  <c:v>0.005316442324768845</c:v>
                </c:pt>
                <c:pt idx="7">
                  <c:v>0.007076659472841658</c:v>
                </c:pt>
                <c:pt idx="8">
                  <c:v>0.0013721871335111396</c:v>
                </c:pt>
                <c:pt idx="9">
                  <c:v>0.000986125674939855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986770156853</c:v>
                </c:pt>
                <c:pt idx="1">
                  <c:v>0.019837674558354175</c:v>
                </c:pt>
                <c:pt idx="2">
                  <c:v>0.020649080415175616</c:v>
                </c:pt>
                <c:pt idx="3">
                  <c:v>0.03811818346706814</c:v>
                </c:pt>
                <c:pt idx="4">
                  <c:v>0.0616614173974536</c:v>
                </c:pt>
                <c:pt idx="5">
                  <c:v>0.09924682877793033</c:v>
                </c:pt>
                <c:pt idx="6">
                  <c:v>0.1332016043949691</c:v>
                </c:pt>
                <c:pt idx="7">
                  <c:v>0.178550942531587</c:v>
                </c:pt>
                <c:pt idx="8">
                  <c:v>0.244227964219498</c:v>
                </c:pt>
                <c:pt idx="9">
                  <c:v>0.09523057734203796</c:v>
                </c:pt>
                <c:pt idx="10">
                  <c:v>0.0925858591943575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83782738305525</c:v>
                </c:pt>
                <c:pt idx="1">
                  <c:v>0.002355786925505575</c:v>
                </c:pt>
                <c:pt idx="2">
                  <c:v>0.003615018191896099</c:v>
                </c:pt>
                <c:pt idx="3">
                  <c:v>0.008519113198318249</c:v>
                </c:pt>
                <c:pt idx="4">
                  <c:v>0.017346106221606254</c:v>
                </c:pt>
                <c:pt idx="5">
                  <c:v>0.012758648255220202</c:v>
                </c:pt>
                <c:pt idx="6">
                  <c:v>0.007208841217925557</c:v>
                </c:pt>
                <c:pt idx="7">
                  <c:v>0.02920603163832545</c:v>
                </c:pt>
                <c:pt idx="8">
                  <c:v>0.017426642779263066</c:v>
                </c:pt>
                <c:pt idx="9">
                  <c:v>0.00450099948999252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890457423221978</c:v>
                </c:pt>
                <c:pt idx="2">
                  <c:v>0.001029771326241639</c:v>
                </c:pt>
                <c:pt idx="3">
                  <c:v>0.007787921095017421</c:v>
                </c:pt>
                <c:pt idx="4">
                  <c:v>0.0032212148231013735</c:v>
                </c:pt>
                <c:pt idx="5">
                  <c:v>0.002862098295903899</c:v>
                </c:pt>
                <c:pt idx="6">
                  <c:v>0.024264440625739833</c:v>
                </c:pt>
                <c:pt idx="7">
                  <c:v>0.019399357267758738</c:v>
                </c:pt>
                <c:pt idx="8">
                  <c:v>0.04074114231022481</c:v>
                </c:pt>
                <c:pt idx="9">
                  <c:v>0.01933782695649262</c:v>
                </c:pt>
                <c:pt idx="10">
                  <c:v>0.01397260239860228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452605108927297</c:v>
                </c:pt>
                <c:pt idx="7">
                  <c:v>0.004043674415843836</c:v>
                </c:pt>
                <c:pt idx="8">
                  <c:v>0.005091523542293955</c:v>
                </c:pt>
                <c:pt idx="9">
                  <c:v>0.0008180433247267346</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126743556408643</c:v>
                </c:pt>
                <c:pt idx="1">
                  <c:v>0.005681690972883015</c:v>
                </c:pt>
                <c:pt idx="2">
                  <c:v>0.006286404572714272</c:v>
                </c:pt>
                <c:pt idx="3">
                  <c:v>0.014218547638554395</c:v>
                </c:pt>
                <c:pt idx="4">
                  <c:v>0.02490252909892907</c:v>
                </c:pt>
                <c:pt idx="5">
                  <c:v>0.03200044328693713</c:v>
                </c:pt>
                <c:pt idx="6">
                  <c:v>0.03749363355306739</c:v>
                </c:pt>
                <c:pt idx="7">
                  <c:v>0.06543016875347116</c:v>
                </c:pt>
                <c:pt idx="8">
                  <c:v>0.06776492037801564</c:v>
                </c:pt>
                <c:pt idx="9">
                  <c:v>0.017150470006280925</c:v>
                </c:pt>
                <c:pt idx="10">
                  <c:v>0.0730922738620794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320066372834457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51962907775696</c:v>
                </c:pt>
                <c:pt idx="1">
                  <c:v>0.004096841794238541</c:v>
                </c:pt>
                <c:pt idx="2">
                  <c:v>0.00252613143675963</c:v>
                </c:pt>
                <c:pt idx="3">
                  <c:v>0.0031809580729921178</c:v>
                </c:pt>
                <c:pt idx="4">
                  <c:v>0.0062049180485995</c:v>
                </c:pt>
                <c:pt idx="5">
                  <c:v>0.03363766205661113</c:v>
                </c:pt>
                <c:pt idx="6">
                  <c:v>0.03068622079878237</c:v>
                </c:pt>
                <c:pt idx="7">
                  <c:v>0.035280975675809095</c:v>
                </c:pt>
                <c:pt idx="8">
                  <c:v>0.059619352283201726</c:v>
                </c:pt>
                <c:pt idx="9">
                  <c:v>0.0424137911395906</c:v>
                </c:pt>
                <c:pt idx="10">
                  <c:v>0.00465704762091929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83782738305525</c:v>
                </c:pt>
                <c:pt idx="1">
                  <c:v>0.002355786925505575</c:v>
                </c:pt>
                <c:pt idx="2">
                  <c:v>0.003615018191896099</c:v>
                </c:pt>
                <c:pt idx="3">
                  <c:v>0.008519113198318249</c:v>
                </c:pt>
                <c:pt idx="4">
                  <c:v>0.017346106221606254</c:v>
                </c:pt>
                <c:pt idx="5">
                  <c:v>0.012758648255220202</c:v>
                </c:pt>
                <c:pt idx="6">
                  <c:v>0.007208841217925557</c:v>
                </c:pt>
                <c:pt idx="7">
                  <c:v>0.02920603163832545</c:v>
                </c:pt>
                <c:pt idx="8">
                  <c:v>0.017426642779263066</c:v>
                </c:pt>
                <c:pt idx="9">
                  <c:v>0.004500999489992523</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68986770156853</c:v>
                </c:pt>
                <c:pt idx="1">
                  <c:v>0.019837674558354175</c:v>
                </c:pt>
                <c:pt idx="2">
                  <c:v>0.020649080415175616</c:v>
                </c:pt>
                <c:pt idx="3">
                  <c:v>0.03811818346706814</c:v>
                </c:pt>
                <c:pt idx="4">
                  <c:v>0.0616614173974536</c:v>
                </c:pt>
                <c:pt idx="5">
                  <c:v>0.09924682877793033</c:v>
                </c:pt>
                <c:pt idx="6">
                  <c:v>0.1332016043949691</c:v>
                </c:pt>
                <c:pt idx="7">
                  <c:v>0.178550942531587</c:v>
                </c:pt>
                <c:pt idx="8">
                  <c:v>0.244227964219498</c:v>
                </c:pt>
                <c:pt idx="9">
                  <c:v>0.09523057734203796</c:v>
                </c:pt>
                <c:pt idx="10">
                  <c:v>0.09258585919435758</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201397954038178</c:v>
                </c:pt>
                <c:pt idx="1">
                  <c:v>0.0023813514759300674</c:v>
                </c:pt>
                <c:pt idx="2">
                  <c:v>0.0006203665261118533</c:v>
                </c:pt>
                <c:pt idx="3">
                  <c:v>0.0012100558991468265</c:v>
                </c:pt>
                <c:pt idx="4">
                  <c:v>0.0022061403080321576</c:v>
                </c:pt>
                <c:pt idx="5">
                  <c:v>0.006758491787443898</c:v>
                </c:pt>
                <c:pt idx="6">
                  <c:v>0.01111422173033362</c:v>
                </c:pt>
                <c:pt idx="7">
                  <c:v>0.0037270189298570975</c:v>
                </c:pt>
                <c:pt idx="8">
                  <c:v>0.0012316922306662747</c:v>
                </c:pt>
                <c:pt idx="9">
                  <c:v>0.0007596588166260147</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94385519922599</c:v>
                </c:pt>
                <c:pt idx="1">
                  <c:v>0.0036329576474747795</c:v>
                </c:pt>
                <c:pt idx="2">
                  <c:v>0.006571388361452123</c:v>
                </c:pt>
                <c:pt idx="3">
                  <c:v>0.0032015875630391323</c:v>
                </c:pt>
                <c:pt idx="4">
                  <c:v>0.007780508897185246</c:v>
                </c:pt>
                <c:pt idx="5">
                  <c:v>0.011229485095814071</c:v>
                </c:pt>
                <c:pt idx="6">
                  <c:v>0.02243424646912032</c:v>
                </c:pt>
                <c:pt idx="7">
                  <c:v>0.025507390266365445</c:v>
                </c:pt>
                <c:pt idx="8">
                  <c:v>0.05744421423812648</c:v>
                </c:pt>
                <c:pt idx="9">
                  <c:v>0.011067830933055287</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11314270013406</c:v>
                </c:pt>
                <c:pt idx="1">
                  <c:v>0.004948769557768145</c:v>
                </c:pt>
                <c:pt idx="2">
                  <c:v>0.0037158044669079945</c:v>
                </c:pt>
                <c:pt idx="3">
                  <c:v>0.011783536209714679</c:v>
                </c:pt>
                <c:pt idx="4">
                  <c:v>0.01802717058757774</c:v>
                </c:pt>
                <c:pt idx="5">
                  <c:v>0.010869254450006912</c:v>
                </c:pt>
                <c:pt idx="6">
                  <c:v>0.010434324914567557</c:v>
                </c:pt>
                <c:pt idx="7">
                  <c:v>0.02133951590923541</c:v>
                </c:pt>
                <c:pt idx="8">
                  <c:v>0.020339809368483234</c:v>
                </c:pt>
                <c:pt idx="9">
                  <c:v>0.0022830431841173848</c:v>
                </c:pt>
                <c:pt idx="10">
                  <c:v>0.0012343396389064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676654634519031</c:v>
                </c:pt>
                <c:pt idx="2">
                  <c:v>0.000594872847455506</c:v>
                </c:pt>
                <c:pt idx="3">
                  <c:v>0.008650589688322628</c:v>
                </c:pt>
                <c:pt idx="4">
                  <c:v>0.0033209441336984396</c:v>
                </c:pt>
                <c:pt idx="5">
                  <c:v>0.008698360866326887</c:v>
                </c:pt>
                <c:pt idx="6">
                  <c:v>0.016342961653318288</c:v>
                </c:pt>
                <c:pt idx="7">
                  <c:v>0.03266522847178794</c:v>
                </c:pt>
                <c:pt idx="8">
                  <c:v>0.032846479531879955</c:v>
                </c:pt>
                <c:pt idx="9">
                  <c:v>0.021186787847783866</c:v>
                </c:pt>
                <c:pt idx="10">
                  <c:v>0.0056726381059798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2620463993700407</c:v>
                </c:pt>
                <c:pt idx="7">
                  <c:v>0.005291820696417607</c:v>
                </c:pt>
                <c:pt idx="8">
                  <c:v>0.0046080483907251155</c:v>
                </c:pt>
                <c:pt idx="9">
                  <c:v>0.0011432183702208248</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6531424538872</c:v>
                </c:pt>
                <c:pt idx="1">
                  <c:v>0.006484058604671671</c:v>
                </c:pt>
                <c:pt idx="2">
                  <c:v>0.017607473748520872</c:v>
                </c:pt>
                <c:pt idx="3">
                  <c:v>0.0144704216098494</c:v>
                </c:pt>
                <c:pt idx="4">
                  <c:v>0.012628130636830003</c:v>
                </c:pt>
                <c:pt idx="5">
                  <c:v>0.044507068052242346</c:v>
                </c:pt>
                <c:pt idx="6">
                  <c:v>0.05388309462556401</c:v>
                </c:pt>
                <c:pt idx="7">
                  <c:v>0.05930241930010393</c:v>
                </c:pt>
                <c:pt idx="8">
                  <c:v>0.058665760192039416</c:v>
                </c:pt>
                <c:pt idx="9">
                  <c:v>0.07077977380581564</c:v>
                </c:pt>
                <c:pt idx="10">
                  <c:v>0.01671005611599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4957426236028304</c:v>
                </c:pt>
                <c:pt idx="8">
                  <c:v>0.00431476490478329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3166705241142</c:v>
                </c:pt>
                <c:pt idx="1">
                  <c:v>0.004557672331505151</c:v>
                </c:pt>
                <c:pt idx="2">
                  <c:v>0.003583180860652393</c:v>
                </c:pt>
                <c:pt idx="3">
                  <c:v>0.0038627459064201563</c:v>
                </c:pt>
                <c:pt idx="4">
                  <c:v>0.012700932109422533</c:v>
                </c:pt>
                <c:pt idx="5">
                  <c:v>0.032092645836257816</c:v>
                </c:pt>
                <c:pt idx="6">
                  <c:v>0.028317091343125246</c:v>
                </c:pt>
                <c:pt idx="7">
                  <c:v>0.039559731629814326</c:v>
                </c:pt>
                <c:pt idx="8">
                  <c:v>0.0548241597919585</c:v>
                </c:pt>
                <c:pt idx="9">
                  <c:v>0.03423495783400359</c:v>
                </c:pt>
                <c:pt idx="10">
                  <c:v>0.00123794501083134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536403900010128</c:v>
                </c:pt>
                <c:pt idx="1">
                  <c:v>0.0005926825840111598</c:v>
                </c:pt>
                <c:pt idx="2">
                  <c:v>0.002300763587128022</c:v>
                </c:pt>
                <c:pt idx="3">
                  <c:v>0.0008153503540898862</c:v>
                </c:pt>
                <c:pt idx="4">
                  <c:v>0.004046164696381986</c:v>
                </c:pt>
                <c:pt idx="5">
                  <c:v>0.008077394139565281</c:v>
                </c:pt>
                <c:pt idx="6">
                  <c:v>0.0063320831646094386</c:v>
                </c:pt>
                <c:pt idx="7">
                  <c:v>0.0021962123080222825</c:v>
                </c:pt>
                <c:pt idx="8">
                  <c:v>0.0023832860437729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0975516137549</c:v>
                </c:pt>
                <c:pt idx="1">
                  <c:v>0.0011038120023828693</c:v>
                </c:pt>
                <c:pt idx="2">
                  <c:v>0.0015282875797082284</c:v>
                </c:pt>
                <c:pt idx="3">
                  <c:v>0.240745567704595</c:v>
                </c:pt>
                <c:pt idx="4">
                  <c:v>0.25074804702660697</c:v>
                </c:pt>
                <c:pt idx="5">
                  <c:v>0.09501567428034123</c:v>
                </c:pt>
                <c:pt idx="6">
                  <c:v>0.01776621971473062</c:v>
                </c:pt>
                <c:pt idx="7">
                  <c:v>0.1586117829623229</c:v>
                </c:pt>
                <c:pt idx="8">
                  <c:v>0.2067430246170972</c:v>
                </c:pt>
                <c:pt idx="9">
                  <c:v>0.00964003249846006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252761138651</c:v>
                </c:pt>
                <c:pt idx="1">
                  <c:v>0.012001151939103054</c:v>
                </c:pt>
                <c:pt idx="2">
                  <c:v>0.014271461085164992</c:v>
                </c:pt>
                <c:pt idx="3">
                  <c:v>0.0735456259416907</c:v>
                </c:pt>
                <c:pt idx="4">
                  <c:v>0.054250404213041364</c:v>
                </c:pt>
                <c:pt idx="5">
                  <c:v>0.12550902281882184</c:v>
                </c:pt>
                <c:pt idx="6">
                  <c:v>0.1211517910584342</c:v>
                </c:pt>
                <c:pt idx="7">
                  <c:v>0.187042554643229</c:v>
                </c:pt>
                <c:pt idx="8">
                  <c:v>0.21492993040072444</c:v>
                </c:pt>
                <c:pt idx="9">
                  <c:v>0.1152067634794828</c:v>
                </c:pt>
                <c:pt idx="10">
                  <c:v>0.067668766808921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71846274012195</c:v>
                </c:pt>
                <c:pt idx="2">
                  <c:v>0.0019823186142866995</c:v>
                </c:pt>
                <c:pt idx="3">
                  <c:v>0.025263037357793557</c:v>
                </c:pt>
                <c:pt idx="4">
                  <c:v>0.012456982015099791</c:v>
                </c:pt>
                <c:pt idx="5">
                  <c:v>0.012340146490266705</c:v>
                </c:pt>
                <c:pt idx="6">
                  <c:v>0.001980016209619578</c:v>
                </c:pt>
                <c:pt idx="7">
                  <c:v>0.025774435970431275</c:v>
                </c:pt>
                <c:pt idx="8">
                  <c:v>0.018941871684386186</c:v>
                </c:pt>
                <c:pt idx="9">
                  <c:v>0.0092325851550409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805143728589867</c:v>
                </c:pt>
                <c:pt idx="2">
                  <c:v>0.0006299091368661346</c:v>
                </c:pt>
                <c:pt idx="3">
                  <c:v>0.012583890560351535</c:v>
                </c:pt>
                <c:pt idx="4">
                  <c:v>0.004100197059361852</c:v>
                </c:pt>
                <c:pt idx="5">
                  <c:v>0.01622750350618817</c:v>
                </c:pt>
                <c:pt idx="6">
                  <c:v>0.01836820453752616</c:v>
                </c:pt>
                <c:pt idx="7">
                  <c:v>0.01793443149824045</c:v>
                </c:pt>
                <c:pt idx="8">
                  <c:v>0.048324624737107115</c:v>
                </c:pt>
                <c:pt idx="9">
                  <c:v>0.01499439312659451</c:v>
                </c:pt>
                <c:pt idx="10">
                  <c:v>0.0140818235247575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3894136216223335</c:v>
                </c:pt>
                <c:pt idx="6">
                  <c:v>0.0006032645588558697</c:v>
                </c:pt>
                <c:pt idx="7">
                  <c:v>0.0031595726566559876</c:v>
                </c:pt>
                <c:pt idx="8">
                  <c:v>0.01036017632874047</c:v>
                </c:pt>
                <c:pt idx="9">
                  <c:v>0.0013972833443827652</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149592469193508</c:v>
                </c:pt>
                <c:pt idx="1">
                  <c:v>0.002080757925829484</c:v>
                </c:pt>
                <c:pt idx="2">
                  <c:v>0.0075634856716695195</c:v>
                </c:pt>
                <c:pt idx="3">
                  <c:v>0.029240188155732764</c:v>
                </c:pt>
                <c:pt idx="4">
                  <c:v>0.008413044213779057</c:v>
                </c:pt>
                <c:pt idx="5">
                  <c:v>0.038328354978028556</c:v>
                </c:pt>
                <c:pt idx="6">
                  <c:v>0.04087858472750747</c:v>
                </c:pt>
                <c:pt idx="7">
                  <c:v>0.06373048060176294</c:v>
                </c:pt>
                <c:pt idx="8">
                  <c:v>0.047529569869480016</c:v>
                </c:pt>
                <c:pt idx="9">
                  <c:v>0.04058292143217905</c:v>
                </c:pt>
                <c:pt idx="10">
                  <c:v>0.0433483742139288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6057166198263543</c:v>
                </c:pt>
                <c:pt idx="8">
                  <c:v>0.003721025546756929</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870403051938693</c:v>
                </c:pt>
                <c:pt idx="2">
                  <c:v>0.0009801566908403424</c:v>
                </c:pt>
                <c:pt idx="3">
                  <c:v>0.003969063601545941</c:v>
                </c:pt>
                <c:pt idx="4">
                  <c:v>0.017409661670498424</c:v>
                </c:pt>
                <c:pt idx="5">
                  <c:v>0.037708397985336053</c:v>
                </c:pt>
                <c:pt idx="6">
                  <c:v>0.022910405732858685</c:v>
                </c:pt>
                <c:pt idx="7">
                  <c:v>0.05028988253281045</c:v>
                </c:pt>
                <c:pt idx="8">
                  <c:v>0.047662769735484674</c:v>
                </c:pt>
                <c:pt idx="9">
                  <c:v>0.037246702533449826</c:v>
                </c:pt>
                <c:pt idx="10">
                  <c:v>0.01019174391531718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252761138651</c:v>
                </c:pt>
                <c:pt idx="1">
                  <c:v>0.012001151939103054</c:v>
                </c:pt>
                <c:pt idx="2">
                  <c:v>0.014271461085164992</c:v>
                </c:pt>
                <c:pt idx="3">
                  <c:v>0.0735456259416907</c:v>
                </c:pt>
                <c:pt idx="4">
                  <c:v>0.054250404213041364</c:v>
                </c:pt>
                <c:pt idx="5">
                  <c:v>0.12550902281882184</c:v>
                </c:pt>
                <c:pt idx="6">
                  <c:v>0.1211517910584342</c:v>
                </c:pt>
                <c:pt idx="7">
                  <c:v>0.187042554643229</c:v>
                </c:pt>
                <c:pt idx="8">
                  <c:v>0.21492993040072444</c:v>
                </c:pt>
                <c:pt idx="9">
                  <c:v>0.1152067634794828</c:v>
                </c:pt>
                <c:pt idx="10">
                  <c:v>0.067668766808921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39133595683903</c:v>
                </c:pt>
                <c:pt idx="1">
                  <c:v>0.0028294596314957583</c:v>
                </c:pt>
                <c:pt idx="3">
                  <c:v>0.0012810003966697882</c:v>
                </c:pt>
                <c:pt idx="4">
                  <c:v>0.003726574342004692</c:v>
                </c:pt>
                <c:pt idx="5">
                  <c:v>0.007234938281682933</c:v>
                </c:pt>
                <c:pt idx="6">
                  <c:v>0.005316442324768845</c:v>
                </c:pt>
                <c:pt idx="7">
                  <c:v>0.007076659472841658</c:v>
                </c:pt>
                <c:pt idx="8">
                  <c:v>0.0013721871335111396</c:v>
                </c:pt>
                <c:pt idx="9">
                  <c:v>0.0009861256749398551</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6126010037809816</c:v>
                </c:pt>
                <c:pt idx="3">
                  <c:v>0.0007197671426231757</c:v>
                </c:pt>
                <c:pt idx="4">
                  <c:v>0.0010449500378745325</c:v>
                </c:pt>
                <c:pt idx="5">
                  <c:v>0.0027876066299880723</c:v>
                </c:pt>
                <c:pt idx="7">
                  <c:v>0.00676526836856027</c:v>
                </c:pt>
                <c:pt idx="8">
                  <c:v>0.006616909893306547</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77356122933812</c:v>
                </c:pt>
                <c:pt idx="1">
                  <c:v>0.0013863757022722766</c:v>
                </c:pt>
                <c:pt idx="2">
                  <c:v>0.002965163362575906</c:v>
                </c:pt>
                <c:pt idx="3">
                  <c:v>0.001208445869597118</c:v>
                </c:pt>
                <c:pt idx="4">
                  <c:v>0.00814394491229755</c:v>
                </c:pt>
                <c:pt idx="5">
                  <c:v>0.013669681577319417</c:v>
                </c:pt>
                <c:pt idx="6">
                  <c:v>0.03169813752615345</c:v>
                </c:pt>
                <c:pt idx="7">
                  <c:v>0.022236664567142225</c:v>
                </c:pt>
                <c:pt idx="8">
                  <c:v>0.05109890724075531</c:v>
                </c:pt>
                <c:pt idx="9">
                  <c:v>0.012164035557278572</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8353165138067992</c:v>
                </c:pt>
                <c:pt idx="3">
                  <c:v>0.3802122559604967</c:v>
                </c:pt>
                <c:pt idx="4">
                  <c:v>0.10773548689713384</c:v>
                </c:pt>
                <c:pt idx="5">
                  <c:v>0.11240208748273982</c:v>
                </c:pt>
                <c:pt idx="6">
                  <c:v>0.005703933490111149</c:v>
                </c:pt>
                <c:pt idx="7">
                  <c:v>0.1840588125433033</c:v>
                </c:pt>
                <c:pt idx="8">
                  <c:v>0.20114016781195526</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890457423221978</c:v>
                </c:pt>
                <c:pt idx="2">
                  <c:v>0.001029771326241639</c:v>
                </c:pt>
                <c:pt idx="3">
                  <c:v>0.007787921095017421</c:v>
                </c:pt>
                <c:pt idx="4">
                  <c:v>0.0032212148231013735</c:v>
                </c:pt>
                <c:pt idx="5">
                  <c:v>0.002862098295903899</c:v>
                </c:pt>
                <c:pt idx="6">
                  <c:v>0.024264440625739833</c:v>
                </c:pt>
                <c:pt idx="7">
                  <c:v>0.019399357267758738</c:v>
                </c:pt>
                <c:pt idx="8">
                  <c:v>0.04074114231022481</c:v>
                </c:pt>
                <c:pt idx="9">
                  <c:v>0.01933782695649262</c:v>
                </c:pt>
                <c:pt idx="10">
                  <c:v>0.013972602398602282</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11314270013406</c:v>
                </c:pt>
                <c:pt idx="1">
                  <c:v>0.004948769557768145</c:v>
                </c:pt>
                <c:pt idx="2">
                  <c:v>0.0037158044669079945</c:v>
                </c:pt>
                <c:pt idx="3">
                  <c:v>0.011783536209714679</c:v>
                </c:pt>
                <c:pt idx="4">
                  <c:v>0.01802717058757774</c:v>
                </c:pt>
                <c:pt idx="5">
                  <c:v>0.010869254450006912</c:v>
                </c:pt>
                <c:pt idx="6">
                  <c:v>0.010434324914567557</c:v>
                </c:pt>
                <c:pt idx="7">
                  <c:v>0.02133951590923541</c:v>
                </c:pt>
                <c:pt idx="8">
                  <c:v>0.020339809368483234</c:v>
                </c:pt>
                <c:pt idx="9">
                  <c:v>0.0022830431841173848</c:v>
                </c:pt>
                <c:pt idx="10">
                  <c:v>0.00123433963890649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26574529464262</c:v>
                </c:pt>
                <c:pt idx="3">
                  <c:v>0.0034725365029936576</c:v>
                </c:pt>
                <c:pt idx="4">
                  <c:v>0.0018439494441048283</c:v>
                </c:pt>
                <c:pt idx="5">
                  <c:v>0.0022671840543629514</c:v>
                </c:pt>
                <c:pt idx="6">
                  <c:v>0.0018963805653219572</c:v>
                </c:pt>
                <c:pt idx="7">
                  <c:v>0.005665206533099775</c:v>
                </c:pt>
                <c:pt idx="8">
                  <c:v>0.006726488319613481</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676654634519031</c:v>
                </c:pt>
                <c:pt idx="2">
                  <c:v>0.000594872847455506</c:v>
                </c:pt>
                <c:pt idx="3">
                  <c:v>0.008650589688322628</c:v>
                </c:pt>
                <c:pt idx="4">
                  <c:v>0.0033209441336984396</c:v>
                </c:pt>
                <c:pt idx="5">
                  <c:v>0.008698360866326887</c:v>
                </c:pt>
                <c:pt idx="6">
                  <c:v>0.016342961653318288</c:v>
                </c:pt>
                <c:pt idx="7">
                  <c:v>0.03266522847178794</c:v>
                </c:pt>
                <c:pt idx="8">
                  <c:v>0.032846479531879955</c:v>
                </c:pt>
                <c:pt idx="9">
                  <c:v>0.021186787847783866</c:v>
                </c:pt>
                <c:pt idx="10">
                  <c:v>0.005672638105979871</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087850763705204</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6531424538872</c:v>
                </c:pt>
                <c:pt idx="1">
                  <c:v>0.006484058604671671</c:v>
                </c:pt>
                <c:pt idx="2">
                  <c:v>0.017607473748520872</c:v>
                </c:pt>
                <c:pt idx="3">
                  <c:v>0.0144704216098494</c:v>
                </c:pt>
                <c:pt idx="4">
                  <c:v>0.012628130636830003</c:v>
                </c:pt>
                <c:pt idx="5">
                  <c:v>0.044507068052242346</c:v>
                </c:pt>
                <c:pt idx="6">
                  <c:v>0.05388309462556401</c:v>
                </c:pt>
                <c:pt idx="7">
                  <c:v>0.05930241930010393</c:v>
                </c:pt>
                <c:pt idx="8">
                  <c:v>0.058665760192039416</c:v>
                </c:pt>
                <c:pt idx="9">
                  <c:v>0.07077977380581564</c:v>
                </c:pt>
                <c:pt idx="10">
                  <c:v>0.016710056115991592</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143166705241142</c:v>
                </c:pt>
                <c:pt idx="1">
                  <c:v>0.004557672331505151</c:v>
                </c:pt>
                <c:pt idx="2">
                  <c:v>0.003583180860652393</c:v>
                </c:pt>
                <c:pt idx="3">
                  <c:v>0.0038627459064201563</c:v>
                </c:pt>
                <c:pt idx="4">
                  <c:v>0.012700932109422533</c:v>
                </c:pt>
                <c:pt idx="5">
                  <c:v>0.032092645836257816</c:v>
                </c:pt>
                <c:pt idx="6">
                  <c:v>0.028317091343125246</c:v>
                </c:pt>
                <c:pt idx="7">
                  <c:v>0.039559731629814326</c:v>
                </c:pt>
                <c:pt idx="8">
                  <c:v>0.0548241597919585</c:v>
                </c:pt>
                <c:pt idx="9">
                  <c:v>0.03423495783400359</c:v>
                </c:pt>
                <c:pt idx="10">
                  <c:v>0.001237945010831348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64286674298627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4076700754436693</c:v>
                </c:pt>
                <c:pt idx="1">
                  <c:v>0.026808770478219595</c:v>
                </c:pt>
                <c:pt idx="2">
                  <c:v>0.033618921453349215</c:v>
                </c:pt>
                <c:pt idx="3">
                  <c:v>0.043193698660743136</c:v>
                </c:pt>
                <c:pt idx="4">
                  <c:v>0.060866470201537945</c:v>
                </c:pt>
                <c:pt idx="5">
                  <c:v>0.11629275414523581</c:v>
                </c:pt>
                <c:pt idx="6">
                  <c:v>0.14114999538782796</c:v>
                </c:pt>
                <c:pt idx="7">
                  <c:v>0.18708207317322248</c:v>
                </c:pt>
                <c:pt idx="8">
                  <c:v>0.19672272953911324</c:v>
                </c:pt>
                <c:pt idx="9">
                  <c:v>0.14353338057932882</c:v>
                </c:pt>
                <c:pt idx="10">
                  <c:v>0.026654505626985084</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5536403900010128</c:v>
                </c:pt>
                <c:pt idx="1">
                  <c:v>0.0005926825840111598</c:v>
                </c:pt>
                <c:pt idx="2">
                  <c:v>0.002300763587128022</c:v>
                </c:pt>
                <c:pt idx="3">
                  <c:v>0.0008153503540898862</c:v>
                </c:pt>
                <c:pt idx="4">
                  <c:v>0.004046164696381986</c:v>
                </c:pt>
                <c:pt idx="5">
                  <c:v>0.008077394139565281</c:v>
                </c:pt>
                <c:pt idx="6">
                  <c:v>0.0063320831646094386</c:v>
                </c:pt>
                <c:pt idx="7">
                  <c:v>0.0021962123080222825</c:v>
                </c:pt>
                <c:pt idx="8">
                  <c:v>0.002383286043772928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126743556408643</c:v>
                </c:pt>
                <c:pt idx="1">
                  <c:v>0.005681690972883015</c:v>
                </c:pt>
                <c:pt idx="2">
                  <c:v>0.006286404572714272</c:v>
                </c:pt>
                <c:pt idx="3">
                  <c:v>0.014218547638554395</c:v>
                </c:pt>
                <c:pt idx="4">
                  <c:v>0.02490252909892907</c:v>
                </c:pt>
                <c:pt idx="5">
                  <c:v>0.03200044328693713</c:v>
                </c:pt>
                <c:pt idx="6">
                  <c:v>0.03749363355306739</c:v>
                </c:pt>
                <c:pt idx="7">
                  <c:v>0.06543016875347116</c:v>
                </c:pt>
                <c:pt idx="8">
                  <c:v>0.06776492037801564</c:v>
                </c:pt>
                <c:pt idx="9">
                  <c:v>0.017150470006280925</c:v>
                </c:pt>
                <c:pt idx="10">
                  <c:v>0.07309227386207949</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478050108144033</c:v>
                </c:pt>
                <c:pt idx="1">
                  <c:v>0.006548932765744439</c:v>
                </c:pt>
                <c:pt idx="2">
                  <c:v>0.005816825942684429</c:v>
                </c:pt>
                <c:pt idx="3">
                  <c:v>0.0036110548923463884</c:v>
                </c:pt>
                <c:pt idx="4">
                  <c:v>0.010143128037627248</c:v>
                </c:pt>
                <c:pt idx="5">
                  <c:v>0.012048030800836568</c:v>
                </c:pt>
                <c:pt idx="6">
                  <c:v>0.025840439686643426</c:v>
                </c:pt>
                <c:pt idx="7">
                  <c:v>0.0320189655542586</c:v>
                </c:pt>
                <c:pt idx="8">
                  <c:v>0.027663234610979196</c:v>
                </c:pt>
                <c:pt idx="9">
                  <c:v>0.014616772669708868</c:v>
                </c:pt>
                <c:pt idx="10">
                  <c:v>0.0017995267552757723</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346815577936997</c:v>
                </c:pt>
                <c:pt idx="1">
                  <c:v>0.004444336608054893</c:v>
                </c:pt>
                <c:pt idx="2">
                  <c:v>0.03601714922103036</c:v>
                </c:pt>
                <c:pt idx="3">
                  <c:v>0.14561464720112</c:v>
                </c:pt>
                <c:pt idx="4">
                  <c:v>0.31870308409378206</c:v>
                </c:pt>
                <c:pt idx="5">
                  <c:v>0.08304997974023831</c:v>
                </c:pt>
                <c:pt idx="6">
                  <c:v>0.0780238118923588</c:v>
                </c:pt>
                <c:pt idx="7">
                  <c:v>0.1151528944769706</c:v>
                </c:pt>
                <c:pt idx="8">
                  <c:v>0.1802110412061716</c:v>
                </c:pt>
                <c:pt idx="9">
                  <c:v>0.015436239982336399</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551962907775696</c:v>
                </c:pt>
                <c:pt idx="1">
                  <c:v>0.004096841794238541</c:v>
                </c:pt>
                <c:pt idx="2">
                  <c:v>0.00252613143675963</c:v>
                </c:pt>
                <c:pt idx="3">
                  <c:v>0.0031809580729921178</c:v>
                </c:pt>
                <c:pt idx="4">
                  <c:v>0.0062049180485995</c:v>
                </c:pt>
                <c:pt idx="5">
                  <c:v>0.03363766205661113</c:v>
                </c:pt>
                <c:pt idx="6">
                  <c:v>0.03068622079878237</c:v>
                </c:pt>
                <c:pt idx="7">
                  <c:v>0.035280975675809095</c:v>
                </c:pt>
                <c:pt idx="8">
                  <c:v>0.059619352283201726</c:v>
                </c:pt>
                <c:pt idx="9">
                  <c:v>0.0424137911395906</c:v>
                </c:pt>
                <c:pt idx="10">
                  <c:v>0.004657047620919298</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4"/>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42252761138651</c:v>
                </c:pt>
                <c:pt idx="1">
                  <c:v>0.012001151939103054</c:v>
                </c:pt>
                <c:pt idx="2">
                  <c:v>0.014271461085164992</c:v>
                </c:pt>
                <c:pt idx="3">
                  <c:v>0.0735456259416907</c:v>
                </c:pt>
                <c:pt idx="4">
                  <c:v>0.054250404213041364</c:v>
                </c:pt>
                <c:pt idx="5">
                  <c:v>0.12550902281882184</c:v>
                </c:pt>
                <c:pt idx="6">
                  <c:v>0.1211517910584342</c:v>
                </c:pt>
                <c:pt idx="7">
                  <c:v>0.187042554643229</c:v>
                </c:pt>
                <c:pt idx="8">
                  <c:v>0.21492993040072444</c:v>
                </c:pt>
                <c:pt idx="9">
                  <c:v>0.1152067634794828</c:v>
                </c:pt>
                <c:pt idx="10">
                  <c:v>0.06766876680892112</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371846274012195</c:v>
                </c:pt>
                <c:pt idx="2">
                  <c:v>0.0019823186142866995</c:v>
                </c:pt>
                <c:pt idx="3">
                  <c:v>0.025263037357793557</c:v>
                </c:pt>
                <c:pt idx="4">
                  <c:v>0.012456982015099791</c:v>
                </c:pt>
                <c:pt idx="5">
                  <c:v>0.012340146490266705</c:v>
                </c:pt>
                <c:pt idx="6">
                  <c:v>0.001980016209619578</c:v>
                </c:pt>
                <c:pt idx="7">
                  <c:v>0.025774435970431275</c:v>
                </c:pt>
                <c:pt idx="8">
                  <c:v>0.018941871684386186</c:v>
                </c:pt>
                <c:pt idx="9">
                  <c:v>0.00923258515504099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9.xml"/><Relationship Id="rId7" Type="http://schemas.openxmlformats.org/officeDocument/2006/relationships/chart" Target="../charts/chart350.xml"/><Relationship Id="rId8" Type="http://schemas.openxmlformats.org/officeDocument/2006/relationships/chart" Target="../charts/chart351.xml"/><Relationship Id="rId9" Type="http://schemas.openxmlformats.org/officeDocument/2006/relationships/chart" Target="../charts/chart352.xml"/><Relationship Id="rId10" Type="http://schemas.openxmlformats.org/officeDocument/2006/relationships/chart" Target="../charts/chart353.xml"/><Relationship Id="rId11" Type="http://schemas.openxmlformats.org/officeDocument/2006/relationships/chart" Target="../charts/chart354.xml"/><Relationship Id="rId12" Type="http://schemas.openxmlformats.org/officeDocument/2006/relationships/chart" Target="../charts/chart355.xml"/><Relationship Id="rId13" Type="http://schemas.openxmlformats.org/officeDocument/2006/relationships/chart" Target="../charts/chart356.xml"/><Relationship Id="rId14" Type="http://schemas.openxmlformats.org/officeDocument/2006/relationships/chart" Target="../charts/chart357.xml"/><Relationship Id="rId15" Type="http://schemas.openxmlformats.org/officeDocument/2006/relationships/chart" Target="../charts/chart358.xml"/><Relationship Id="rId16" Type="http://schemas.openxmlformats.org/officeDocument/2006/relationships/chart" Target="../charts/chart359.xml"/><Relationship Id="rId17" Type="http://schemas.openxmlformats.org/officeDocument/2006/relationships/chart" Target="../charts/chart3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1.xml"/><Relationship Id="rId7" Type="http://schemas.openxmlformats.org/officeDocument/2006/relationships/chart" Target="../charts/chart362.xml"/><Relationship Id="rId8" Type="http://schemas.openxmlformats.org/officeDocument/2006/relationships/chart" Target="../charts/chart363.xml"/><Relationship Id="rId9" Type="http://schemas.openxmlformats.org/officeDocument/2006/relationships/chart" Target="../charts/chart364.xml"/><Relationship Id="rId10" Type="http://schemas.openxmlformats.org/officeDocument/2006/relationships/chart" Target="../charts/chart365.xml"/><Relationship Id="rId11" Type="http://schemas.openxmlformats.org/officeDocument/2006/relationships/chart" Target="../charts/chart366.xml"/><Relationship Id="rId12" Type="http://schemas.openxmlformats.org/officeDocument/2006/relationships/chart" Target="../charts/chart367.xml"/><Relationship Id="rId13" Type="http://schemas.openxmlformats.org/officeDocument/2006/relationships/chart" Target="../charts/chart368.xml"/><Relationship Id="rId14" Type="http://schemas.openxmlformats.org/officeDocument/2006/relationships/chart" Target="../charts/chart369.xml"/><Relationship Id="rId15" Type="http://schemas.openxmlformats.org/officeDocument/2006/relationships/chart" Target="../charts/chart370.xml"/><Relationship Id="rId16" Type="http://schemas.openxmlformats.org/officeDocument/2006/relationships/chart" Target="../charts/chart371.xml"/><Relationship Id="rId17" Type="http://schemas.openxmlformats.org/officeDocument/2006/relationships/chart" Target="../charts/chart37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3.xml"/><Relationship Id="rId7" Type="http://schemas.openxmlformats.org/officeDocument/2006/relationships/chart" Target="../charts/chart374.xml"/><Relationship Id="rId8" Type="http://schemas.openxmlformats.org/officeDocument/2006/relationships/chart" Target="../charts/chart375.xml"/><Relationship Id="rId9" Type="http://schemas.openxmlformats.org/officeDocument/2006/relationships/chart" Target="../charts/chart376.xml"/><Relationship Id="rId10" Type="http://schemas.openxmlformats.org/officeDocument/2006/relationships/chart" Target="../charts/chart377.xml"/><Relationship Id="rId11" Type="http://schemas.openxmlformats.org/officeDocument/2006/relationships/chart" Target="../charts/chart378.xml"/><Relationship Id="rId12" Type="http://schemas.openxmlformats.org/officeDocument/2006/relationships/chart" Target="../charts/chart379.xml"/><Relationship Id="rId13" Type="http://schemas.openxmlformats.org/officeDocument/2006/relationships/chart" Target="../charts/chart380.xml"/><Relationship Id="rId14" Type="http://schemas.openxmlformats.org/officeDocument/2006/relationships/chart" Target="../charts/chart381.xml"/><Relationship Id="rId15" Type="http://schemas.openxmlformats.org/officeDocument/2006/relationships/chart" Target="../charts/chart382.xml"/><Relationship Id="rId16" Type="http://schemas.openxmlformats.org/officeDocument/2006/relationships/chart" Target="../charts/chart383.xml"/><Relationship Id="rId17" Type="http://schemas.openxmlformats.org/officeDocument/2006/relationships/chart" Target="../charts/chart38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5.xml"/><Relationship Id="rId7" Type="http://schemas.openxmlformats.org/officeDocument/2006/relationships/chart" Target="../charts/chart386.xml"/><Relationship Id="rId8" Type="http://schemas.openxmlformats.org/officeDocument/2006/relationships/chart" Target="../charts/chart387.xml"/><Relationship Id="rId9" Type="http://schemas.openxmlformats.org/officeDocument/2006/relationships/chart" Target="../charts/chart388.xml"/><Relationship Id="rId10" Type="http://schemas.openxmlformats.org/officeDocument/2006/relationships/chart" Target="../charts/chart389.xml"/><Relationship Id="rId11" Type="http://schemas.openxmlformats.org/officeDocument/2006/relationships/chart" Target="../charts/chart390.xml"/><Relationship Id="rId12" Type="http://schemas.openxmlformats.org/officeDocument/2006/relationships/chart" Target="../charts/chart391.xml"/><Relationship Id="rId13" Type="http://schemas.openxmlformats.org/officeDocument/2006/relationships/chart" Target="../charts/chart392.xml"/><Relationship Id="rId14" Type="http://schemas.openxmlformats.org/officeDocument/2006/relationships/chart" Target="../charts/chart393.xml"/><Relationship Id="rId15" Type="http://schemas.openxmlformats.org/officeDocument/2006/relationships/chart" Target="../charts/chart394.xml"/><Relationship Id="rId16" Type="http://schemas.openxmlformats.org/officeDocument/2006/relationships/chart" Target="../charts/chart395.xml"/><Relationship Id="rId17" Type="http://schemas.openxmlformats.org/officeDocument/2006/relationships/chart" Target="../charts/chart39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7.xml"/><Relationship Id="rId7" Type="http://schemas.openxmlformats.org/officeDocument/2006/relationships/chart" Target="../charts/chart398.xml"/><Relationship Id="rId8" Type="http://schemas.openxmlformats.org/officeDocument/2006/relationships/chart" Target="../charts/chart399.xml"/><Relationship Id="rId9" Type="http://schemas.openxmlformats.org/officeDocument/2006/relationships/chart" Target="../charts/chart400.xml"/><Relationship Id="rId10" Type="http://schemas.openxmlformats.org/officeDocument/2006/relationships/chart" Target="../charts/chart401.xml"/><Relationship Id="rId11" Type="http://schemas.openxmlformats.org/officeDocument/2006/relationships/chart" Target="../charts/chart402.xml"/><Relationship Id="rId12" Type="http://schemas.openxmlformats.org/officeDocument/2006/relationships/chart" Target="../charts/chart403.xml"/><Relationship Id="rId13" Type="http://schemas.openxmlformats.org/officeDocument/2006/relationships/chart" Target="../charts/chart404.xml"/><Relationship Id="rId14" Type="http://schemas.openxmlformats.org/officeDocument/2006/relationships/chart" Target="../charts/chart405.xml"/><Relationship Id="rId15" Type="http://schemas.openxmlformats.org/officeDocument/2006/relationships/chart" Target="../charts/chart406.xml"/><Relationship Id="rId16" Type="http://schemas.openxmlformats.org/officeDocument/2006/relationships/chart" Target="../charts/chart407.xml"/><Relationship Id="rId17" Type="http://schemas.openxmlformats.org/officeDocument/2006/relationships/chart" Target="../charts/chart40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9.xml"/><Relationship Id="rId7" Type="http://schemas.openxmlformats.org/officeDocument/2006/relationships/chart" Target="../charts/chart410.xml"/><Relationship Id="rId8" Type="http://schemas.openxmlformats.org/officeDocument/2006/relationships/chart" Target="../charts/chart411.xml"/><Relationship Id="rId9" Type="http://schemas.openxmlformats.org/officeDocument/2006/relationships/chart" Target="../charts/chart412.xml"/><Relationship Id="rId10" Type="http://schemas.openxmlformats.org/officeDocument/2006/relationships/chart" Target="../charts/chart413.xml"/><Relationship Id="rId11" Type="http://schemas.openxmlformats.org/officeDocument/2006/relationships/chart" Target="../charts/chart414.xml"/><Relationship Id="rId12" Type="http://schemas.openxmlformats.org/officeDocument/2006/relationships/chart" Target="../charts/chart415.xml"/><Relationship Id="rId13" Type="http://schemas.openxmlformats.org/officeDocument/2006/relationships/chart" Target="../charts/chart416.xml"/><Relationship Id="rId14" Type="http://schemas.openxmlformats.org/officeDocument/2006/relationships/chart" Target="../charts/chart417.xml"/><Relationship Id="rId15" Type="http://schemas.openxmlformats.org/officeDocument/2006/relationships/chart" Target="../charts/chart418.xml"/><Relationship Id="rId16" Type="http://schemas.openxmlformats.org/officeDocument/2006/relationships/chart" Target="../charts/chart419.xml"/><Relationship Id="rId17" Type="http://schemas.openxmlformats.org/officeDocument/2006/relationships/chart" Target="../charts/chart42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1.xml"/><Relationship Id="rId7" Type="http://schemas.openxmlformats.org/officeDocument/2006/relationships/chart" Target="../charts/chart422.xml"/><Relationship Id="rId8" Type="http://schemas.openxmlformats.org/officeDocument/2006/relationships/chart" Target="../charts/chart423.xml"/><Relationship Id="rId9" Type="http://schemas.openxmlformats.org/officeDocument/2006/relationships/chart" Target="../charts/chart424.xml"/><Relationship Id="rId10" Type="http://schemas.openxmlformats.org/officeDocument/2006/relationships/chart" Target="../charts/chart425.xml"/><Relationship Id="rId11" Type="http://schemas.openxmlformats.org/officeDocument/2006/relationships/chart" Target="../charts/chart426.xml"/><Relationship Id="rId12" Type="http://schemas.openxmlformats.org/officeDocument/2006/relationships/chart" Target="../charts/chart427.xml"/><Relationship Id="rId13" Type="http://schemas.openxmlformats.org/officeDocument/2006/relationships/chart" Target="../charts/chart428.xml"/><Relationship Id="rId14" Type="http://schemas.openxmlformats.org/officeDocument/2006/relationships/chart" Target="../charts/chart429.xml"/><Relationship Id="rId15" Type="http://schemas.openxmlformats.org/officeDocument/2006/relationships/chart" Target="../charts/chart430.xml"/><Relationship Id="rId16" Type="http://schemas.openxmlformats.org/officeDocument/2006/relationships/chart" Target="../charts/chart431.xml"/><Relationship Id="rId17" Type="http://schemas.openxmlformats.org/officeDocument/2006/relationships/chart" Target="../charts/chart43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17865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7348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624238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6575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746144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589805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702488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00982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2374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02330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55247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002785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975319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428467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656259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478684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74868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0904496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2182108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585314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0329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18950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3350165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654510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6792992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210376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110547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066817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33024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04411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137621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609256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692593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35073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46004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X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38"/>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2481">
                <a:tc>
                  <a:txBody>
                    <a:bodyPr/>
                    <a:lstStyle/>
                    <a:p>
                      <a:pPr algn="ctr">
                        <a:defRPr sz="6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72481">
                <a:tc>
                  <a:txBody>
                    <a:bodyPr/>
                    <a:lstStyle/>
                    <a:p>
                      <a:pPr algn="ctr">
                        <a:defRPr sz="6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72481">
                <a:tc>
                  <a:txBody>
                    <a:bodyPr/>
                    <a:lstStyle/>
                    <a:p>
                      <a:pPr algn="ctr">
                        <a:defRPr sz="6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72481">
                <a:tc>
                  <a:txBody>
                    <a:bodyPr/>
                    <a:lstStyle/>
                    <a:p>
                      <a:pPr algn="ctr">
                        <a:defRPr sz="6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2481">
                <a:tc>
                  <a:txBody>
                    <a:bodyPr/>
                    <a:lstStyle/>
                    <a:p>
                      <a:pPr algn="ctr">
                        <a:defRPr sz="6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72481">
                <a:tc>
                  <a:txBody>
                    <a:bodyPr/>
                    <a:lstStyle/>
                    <a:p>
                      <a:pPr algn="ctr">
                        <a:defRPr sz="6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72481">
                <a:tc>
                  <a:txBody>
                    <a:bodyPr/>
                    <a:lstStyle/>
                    <a:p>
                      <a:pPr algn="ctr">
                        <a:defRPr sz="6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272481">
                <a:tc>
                  <a:txBody>
                    <a:bodyPr/>
                    <a:lstStyle/>
                    <a:p>
                      <a:pPr algn="ctr">
                        <a:defRPr sz="6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272481">
                <a:tc>
                  <a:txBody>
                    <a:bodyPr/>
                    <a:lstStyle/>
                    <a:p>
                      <a:pPr algn="ctr">
                        <a:defRPr sz="6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272481">
                <a:tc>
                  <a:txBody>
                    <a:bodyPr/>
                    <a:lstStyle/>
                    <a:p>
                      <a:pPr algn="ctr">
                        <a:defRPr sz="6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72481">
                <a:tc>
                  <a:txBody>
                    <a:bodyPr/>
                    <a:lstStyle/>
                    <a:p>
                      <a:pPr algn="ctr">
                        <a:defRPr sz="6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9/14/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328432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5004</Words>
  <Application>Microsoft Office PowerPoint</Application>
  <PresentationFormat>On-screen Show (16:9)</PresentationFormat>
  <Paragraphs>1512</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lpstr>Brackets Analysis By 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